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8"/>
  </p:notesMasterIdLst>
  <p:handoutMasterIdLst>
    <p:handoutMasterId r:id="rId39"/>
  </p:handoutMasterIdLst>
  <p:sldIdLst>
    <p:sldId id="292" r:id="rId5"/>
    <p:sldId id="2141410979" r:id="rId6"/>
    <p:sldId id="2141410980" r:id="rId7"/>
    <p:sldId id="2141410966" r:id="rId8"/>
    <p:sldId id="376" r:id="rId9"/>
    <p:sldId id="2141410965" r:id="rId10"/>
    <p:sldId id="2141410984" r:id="rId11"/>
    <p:sldId id="2141410985" r:id="rId12"/>
    <p:sldId id="2141410987" r:id="rId13"/>
    <p:sldId id="373" r:id="rId14"/>
    <p:sldId id="2141410986" r:id="rId15"/>
    <p:sldId id="2141410978" r:id="rId16"/>
    <p:sldId id="2141410964" r:id="rId17"/>
    <p:sldId id="2141410962" r:id="rId18"/>
    <p:sldId id="2141410970" r:id="rId19"/>
    <p:sldId id="2141410963" r:id="rId20"/>
    <p:sldId id="2141410971" r:id="rId21"/>
    <p:sldId id="2141410972" r:id="rId22"/>
    <p:sldId id="2141410982" r:id="rId23"/>
    <p:sldId id="2141410981" r:id="rId24"/>
    <p:sldId id="2141410983" r:id="rId25"/>
    <p:sldId id="2141410967" r:id="rId26"/>
    <p:sldId id="2141410974" r:id="rId27"/>
    <p:sldId id="386" r:id="rId28"/>
    <p:sldId id="389" r:id="rId29"/>
    <p:sldId id="388" r:id="rId30"/>
    <p:sldId id="2141410968" r:id="rId31"/>
    <p:sldId id="2141410976" r:id="rId32"/>
    <p:sldId id="2141410975" r:id="rId33"/>
    <p:sldId id="390" r:id="rId34"/>
    <p:sldId id="2141410969" r:id="rId35"/>
    <p:sldId id="369" r:id="rId36"/>
    <p:sldId id="367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DC0D7A4-4F8A-42FF-8548-7C10B3211262}">
          <p14:sldIdLst>
            <p14:sldId id="292"/>
            <p14:sldId id="2141410979"/>
            <p14:sldId id="2141410980"/>
          </p14:sldIdLst>
        </p14:section>
        <p14:section name="Approach" id="{62F303C4-2061-4149-893D-D5B863508C35}">
          <p14:sldIdLst>
            <p14:sldId id="2141410966"/>
            <p14:sldId id="376"/>
          </p14:sldIdLst>
        </p14:section>
        <p14:section name="EDA" id="{052134F3-541C-489B-ABAB-3A1155CBB846}">
          <p14:sldIdLst>
            <p14:sldId id="2141410965"/>
            <p14:sldId id="2141410984"/>
            <p14:sldId id="2141410985"/>
            <p14:sldId id="2141410987"/>
            <p14:sldId id="373"/>
            <p14:sldId id="2141410986"/>
            <p14:sldId id="2141410978"/>
          </p14:sldIdLst>
        </p14:section>
        <p14:section name="Data Prep" id="{A07375E0-0C5A-4658-A6B3-DF29176E5ED3}">
          <p14:sldIdLst>
            <p14:sldId id="2141410964"/>
            <p14:sldId id="2141410962"/>
            <p14:sldId id="2141410970"/>
            <p14:sldId id="2141410963"/>
            <p14:sldId id="2141410971"/>
            <p14:sldId id="2141410972"/>
            <p14:sldId id="2141410982"/>
            <p14:sldId id="2141410981"/>
            <p14:sldId id="2141410983"/>
          </p14:sldIdLst>
        </p14:section>
        <p14:section name="Modeling" id="{2E6C00C6-CDED-4B02-AC8A-407A813BAF18}">
          <p14:sldIdLst>
            <p14:sldId id="2141410967"/>
            <p14:sldId id="2141410974"/>
            <p14:sldId id="386"/>
            <p14:sldId id="389"/>
            <p14:sldId id="388"/>
          </p14:sldIdLst>
        </p14:section>
        <p14:section name="Findings" id="{61F96C29-72C9-4806-B509-6ACA9FBC5B55}">
          <p14:sldIdLst>
            <p14:sldId id="2141410968"/>
            <p14:sldId id="2141410976"/>
            <p14:sldId id="2141410975"/>
            <p14:sldId id="390"/>
          </p14:sldIdLst>
        </p14:section>
        <p14:section name="Conclusion" id="{23A3CC45-B57B-4767-A6E6-D2BA2D42B050}">
          <p14:sldIdLst>
            <p14:sldId id="2141410969"/>
            <p14:sldId id="369"/>
          </p14:sldIdLst>
        </p14:section>
        <p14:section name="Thanks/ Q&amp;A" id="{7B12B5AE-8F63-4B5D-855E-0C6F8F5903AF}">
          <p14:sldIdLst>
            <p14:sldId id="36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E59EB5C-3351-50F7-E8B2-17F892D70940}" name="Wilson, Benjamin" initials="WB" userId="Wilson, Benjami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A74"/>
    <a:srgbClr val="E77324"/>
    <a:srgbClr val="232D4B"/>
    <a:srgbClr val="F8CBAD"/>
    <a:srgbClr val="B4C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5E949B-2E3F-471B-A006-402445D5F868}" v="842" vWet="844" dt="2022-12-19T03:39:02.282"/>
    <p1510:client id="{18F0120F-9911-D545-BF77-BC0293A3E42D}" v="533" dt="2022-12-19T05:06:56.196"/>
    <p1510:client id="{23763563-A54E-43E7-AAEB-4098A1A319DE}" v="1" dt="2022-12-19T01:43:28.979"/>
    <p1510:client id="{53FF904F-3F5D-4AC0-AD5C-4276B4F956CF}" v="7432" dt="2022-12-19T14:14:31.987"/>
    <p1510:client id="{5C788E2A-AD8E-4627-96B9-298BEC4B0878}" v="90" dt="2022-12-18T22:56:31.851"/>
    <p1510:client id="{69C3C88C-9C05-4813-86FF-3BE8A317F840}" v="85" dt="2022-12-18T16:52:11.818"/>
    <p1510:client id="{869E591F-A338-44A2-AB7C-04032F9A4797}" v="232" dt="2022-12-18T21:25:49.536"/>
    <p1510:client id="{A9A62EC4-3552-46E3-AC9B-DA980222052D}" v="1" dt="2022-12-19T14:08:40.565"/>
    <p1510:client id="{DA34909C-FF08-4B73-BEC9-FB43745BB014}" v="1751" dt="2022-12-18T21:10:47.431"/>
    <p1510:client id="{E5C5C502-4706-47FA-B09F-569212B1BAEF}" v="330" dt="2022-12-18T22:16:59.4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son, Benjamin" userId="5e565093-9b03-48e6-8226-93d7b7cd3493" providerId="ADAL" clId="{53FF904F-3F5D-4AC0-AD5C-4276B4F956CF}"/>
    <pc:docChg chg="undo custSel addSld delSld modSld sldOrd addSection delSection modSection replTag">
      <pc:chgData name="Wilson, Benjamin" userId="5e565093-9b03-48e6-8226-93d7b7cd3493" providerId="ADAL" clId="{53FF904F-3F5D-4AC0-AD5C-4276B4F956CF}" dt="2022-12-19T14:14:31.987" v="7556" actId="2696"/>
      <pc:docMkLst>
        <pc:docMk/>
      </pc:docMkLst>
      <pc:sldChg chg="addSp delSp modSp del mod">
        <pc:chgData name="Wilson, Benjamin" userId="5e565093-9b03-48e6-8226-93d7b7cd3493" providerId="ADAL" clId="{53FF904F-3F5D-4AC0-AD5C-4276B4F956CF}" dt="2022-12-18T22:37:48.215" v="7303" actId="2696"/>
        <pc:sldMkLst>
          <pc:docMk/>
          <pc:sldMk cId="1694008698" sldId="368"/>
        </pc:sldMkLst>
        <pc:spChg chg="mod">
          <ac:chgData name="Wilson, Benjamin" userId="5e565093-9b03-48e6-8226-93d7b7cd3493" providerId="ADAL" clId="{53FF904F-3F5D-4AC0-AD5C-4276B4F956CF}" dt="2022-12-12T14:43:54.234" v="138" actId="948"/>
          <ac:spMkLst>
            <pc:docMk/>
            <pc:sldMk cId="1694008698" sldId="368"/>
            <ac:spMk id="3" creationId="{B51BA7AC-39C0-1CCC-4B61-AF84C5E375DB}"/>
          </ac:spMkLst>
        </pc:spChg>
        <pc:spChg chg="mod">
          <ac:chgData name="Wilson, Benjamin" userId="5e565093-9b03-48e6-8226-93d7b7cd3493" providerId="ADAL" clId="{53FF904F-3F5D-4AC0-AD5C-4276B4F956CF}" dt="2022-12-18T19:50:22.237" v="3490" actId="14100"/>
          <ac:spMkLst>
            <pc:docMk/>
            <pc:sldMk cId="1694008698" sldId="368"/>
            <ac:spMk id="4" creationId="{D1541650-39E7-C049-DA55-4F81F25D45E3}"/>
          </ac:spMkLst>
        </pc:spChg>
        <pc:spChg chg="add del mod modVis">
          <ac:chgData name="Wilson, Benjamin" userId="5e565093-9b03-48e6-8226-93d7b7cd3493" providerId="ADAL" clId="{53FF904F-3F5D-4AC0-AD5C-4276B4F956CF}" dt="2022-12-12T14:43:54.453" v="179"/>
          <ac:spMkLst>
            <pc:docMk/>
            <pc:sldMk cId="1694008698" sldId="368"/>
            <ac:spMk id="5" creationId="{8BFCB732-5020-8189-93D2-796392A0DEFA}"/>
          </ac:spMkLst>
        </pc:spChg>
        <pc:graphicFrameChg chg="mod">
          <ac:chgData name="Wilson, Benjamin" userId="5e565093-9b03-48e6-8226-93d7b7cd3493" providerId="ADAL" clId="{53FF904F-3F5D-4AC0-AD5C-4276B4F956CF}" dt="2022-12-12T14:43:54.456" v="181"/>
          <ac:graphicFrameMkLst>
            <pc:docMk/>
            <pc:sldMk cId="1694008698" sldId="368"/>
            <ac:graphicFrameMk id="6" creationId="{44511091-6010-25FD-BF2A-C26094F7AB75}"/>
          </ac:graphicFrameMkLst>
        </pc:graphicFrameChg>
      </pc:sldChg>
      <pc:sldChg chg="addSp delSp modSp mod ord">
        <pc:chgData name="Wilson, Benjamin" userId="5e565093-9b03-48e6-8226-93d7b7cd3493" providerId="ADAL" clId="{53FF904F-3F5D-4AC0-AD5C-4276B4F956CF}" dt="2022-12-18T22:28:09.718" v="7049" actId="108"/>
        <pc:sldMkLst>
          <pc:docMk/>
          <pc:sldMk cId="870337942" sldId="369"/>
        </pc:sldMkLst>
        <pc:spChg chg="mod">
          <ac:chgData name="Wilson, Benjamin" userId="5e565093-9b03-48e6-8226-93d7b7cd3493" providerId="ADAL" clId="{53FF904F-3F5D-4AC0-AD5C-4276B4F956CF}" dt="2022-12-18T22:28:09.718" v="7049" actId="108"/>
          <ac:spMkLst>
            <pc:docMk/>
            <pc:sldMk cId="870337942" sldId="369"/>
            <ac:spMk id="2" creationId="{2258F4F8-FD96-2A9F-7359-331BC5A4A3E3}"/>
          </ac:spMkLst>
        </pc:spChg>
        <pc:spChg chg="mod">
          <ac:chgData name="Wilson, Benjamin" userId="5e565093-9b03-48e6-8226-93d7b7cd3493" providerId="ADAL" clId="{53FF904F-3F5D-4AC0-AD5C-4276B4F956CF}" dt="2022-12-18T22:25:02.526" v="6795" actId="948"/>
          <ac:spMkLst>
            <pc:docMk/>
            <pc:sldMk cId="870337942" sldId="369"/>
            <ac:spMk id="3" creationId="{305F9436-CCF7-5AD1-7B91-8AFA3EBE05FE}"/>
          </ac:spMkLst>
        </pc:spChg>
        <pc:spChg chg="mod">
          <ac:chgData name="Wilson, Benjamin" userId="5e565093-9b03-48e6-8226-93d7b7cd3493" providerId="ADAL" clId="{53FF904F-3F5D-4AC0-AD5C-4276B4F956CF}" dt="2022-12-18T22:24:51.983" v="6669" actId="20577"/>
          <ac:spMkLst>
            <pc:docMk/>
            <pc:sldMk cId="870337942" sldId="369"/>
            <ac:spMk id="5" creationId="{DD23352E-B574-98D0-A498-EE2E51B5AE02}"/>
          </ac:spMkLst>
        </pc:spChg>
        <pc:spChg chg="add del mod modVis">
          <ac:chgData name="Wilson, Benjamin" userId="5e565093-9b03-48e6-8226-93d7b7cd3493" providerId="ADAL" clId="{53FF904F-3F5D-4AC0-AD5C-4276B4F956CF}" dt="2022-12-18T22:17:08.922" v="5843"/>
          <ac:spMkLst>
            <pc:docMk/>
            <pc:sldMk cId="870337942" sldId="369"/>
            <ac:spMk id="6" creationId="{5615F769-7E2C-084C-4D7A-12FFC1329CA1}"/>
          </ac:spMkLst>
        </pc:spChg>
        <pc:spChg chg="add del mod modVis">
          <ac:chgData name="Wilson, Benjamin" userId="5e565093-9b03-48e6-8226-93d7b7cd3493" providerId="ADAL" clId="{53FF904F-3F5D-4AC0-AD5C-4276B4F956CF}" dt="2022-12-18T22:24:58.291" v="6731"/>
          <ac:spMkLst>
            <pc:docMk/>
            <pc:sldMk cId="870337942" sldId="369"/>
            <ac:spMk id="7" creationId="{35FB934D-4A39-D504-4433-160995309E86}"/>
          </ac:spMkLst>
        </pc:spChg>
        <pc:spChg chg="add del mod modVis">
          <ac:chgData name="Wilson, Benjamin" userId="5e565093-9b03-48e6-8226-93d7b7cd3493" providerId="ADAL" clId="{53FF904F-3F5D-4AC0-AD5C-4276B4F956CF}" dt="2022-12-18T22:24:59.183" v="6777"/>
          <ac:spMkLst>
            <pc:docMk/>
            <pc:sldMk cId="870337942" sldId="369"/>
            <ac:spMk id="8" creationId="{A611CD8F-CE3A-8121-B4B0-A0D83ED125F1}"/>
          </ac:spMkLst>
        </pc:spChg>
        <pc:spChg chg="add del mod modVis">
          <ac:chgData name="Wilson, Benjamin" userId="5e565093-9b03-48e6-8226-93d7b7cd3493" providerId="ADAL" clId="{53FF904F-3F5D-4AC0-AD5C-4276B4F956CF}" dt="2022-12-18T22:25:02.552" v="6836"/>
          <ac:spMkLst>
            <pc:docMk/>
            <pc:sldMk cId="870337942" sldId="369"/>
            <ac:spMk id="9" creationId="{4A37AB53-9111-4AC2-6ADE-9D46A62249F0}"/>
          </ac:spMkLst>
        </pc:spChg>
        <pc:spChg chg="mod">
          <ac:chgData name="Wilson, Benjamin" userId="5e565093-9b03-48e6-8226-93d7b7cd3493" providerId="ADAL" clId="{53FF904F-3F5D-4AC0-AD5C-4276B4F956CF}" dt="2022-12-18T22:25:39.551" v="6846" actId="14100"/>
          <ac:spMkLst>
            <pc:docMk/>
            <pc:sldMk cId="870337942" sldId="369"/>
            <ac:spMk id="10" creationId="{8B2E2AE5-3FBB-F7DC-22B7-0EBEEFF4584D}"/>
          </ac:spMkLst>
        </pc:spChg>
        <pc:spChg chg="mod">
          <ac:chgData name="Wilson, Benjamin" userId="5e565093-9b03-48e6-8226-93d7b7cd3493" providerId="ADAL" clId="{53FF904F-3F5D-4AC0-AD5C-4276B4F956CF}" dt="2022-12-18T22:26:25.134" v="6895" actId="403"/>
          <ac:spMkLst>
            <pc:docMk/>
            <pc:sldMk cId="870337942" sldId="369"/>
            <ac:spMk id="11" creationId="{EAFA3618-6672-4C4D-B32E-AB98942727D1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2:25:02.557" v="6838"/>
          <ac:graphicFrameMkLst>
            <pc:docMk/>
            <pc:sldMk cId="870337942" sldId="369"/>
            <ac:graphicFrameMk id="4" creationId="{6CFFF79B-D87D-A4E2-0720-E896562D8D4A}"/>
          </ac:graphicFrameMkLst>
        </pc:graphicFrameChg>
      </pc:sldChg>
      <pc:sldChg chg="modSp mod ord">
        <pc:chgData name="Wilson, Benjamin" userId="5e565093-9b03-48e6-8226-93d7b7cd3493" providerId="ADAL" clId="{53FF904F-3F5D-4AC0-AD5C-4276B4F956CF}" dt="2022-12-18T19:49:34.870" v="3486"/>
        <pc:sldMkLst>
          <pc:docMk/>
          <pc:sldMk cId="4036484097" sldId="370"/>
        </pc:sldMkLst>
        <pc:spChg chg="mod">
          <ac:chgData name="Wilson, Benjamin" userId="5e565093-9b03-48e6-8226-93d7b7cd3493" providerId="ADAL" clId="{53FF904F-3F5D-4AC0-AD5C-4276B4F956CF}" dt="2022-12-18T19:49:19.895" v="3484" actId="20577"/>
          <ac:spMkLst>
            <pc:docMk/>
            <pc:sldMk cId="4036484097" sldId="370"/>
            <ac:spMk id="4" creationId="{5C1F08BB-CC62-6E94-9EC2-A5B57DA2E510}"/>
          </ac:spMkLst>
        </pc:spChg>
      </pc:sldChg>
      <pc:sldChg chg="modSp mod">
        <pc:chgData name="Wilson, Benjamin" userId="5e565093-9b03-48e6-8226-93d7b7cd3493" providerId="ADAL" clId="{53FF904F-3F5D-4AC0-AD5C-4276B4F956CF}" dt="2022-12-18T19:51:36.012" v="3518" actId="20577"/>
        <pc:sldMkLst>
          <pc:docMk/>
          <pc:sldMk cId="2304902712" sldId="373"/>
        </pc:sldMkLst>
        <pc:spChg chg="mod">
          <ac:chgData name="Wilson, Benjamin" userId="5e565093-9b03-48e6-8226-93d7b7cd3493" providerId="ADAL" clId="{53FF904F-3F5D-4AC0-AD5C-4276B4F956CF}" dt="2022-12-18T19:51:36.012" v="3518" actId="20577"/>
          <ac:spMkLst>
            <pc:docMk/>
            <pc:sldMk cId="2304902712" sldId="373"/>
            <ac:spMk id="4" creationId="{5C1F08BB-CC62-6E94-9EC2-A5B57DA2E510}"/>
          </ac:spMkLst>
        </pc:spChg>
      </pc:sldChg>
      <pc:sldChg chg="addSp delSp modSp new add del mod">
        <pc:chgData name="Wilson, Benjamin" userId="5e565093-9b03-48e6-8226-93d7b7cd3493" providerId="ADAL" clId="{53FF904F-3F5D-4AC0-AD5C-4276B4F956CF}" dt="2022-12-18T22:42:12.782" v="7552" actId="2696"/>
        <pc:sldMkLst>
          <pc:docMk/>
          <pc:sldMk cId="204068251" sldId="374"/>
        </pc:sldMkLst>
        <pc:spChg chg="mod">
          <ac:chgData name="Wilson, Benjamin" userId="5e565093-9b03-48e6-8226-93d7b7cd3493" providerId="ADAL" clId="{53FF904F-3F5D-4AC0-AD5C-4276B4F956CF}" dt="2022-12-07T15:56:38.161" v="17" actId="948"/>
          <ac:spMkLst>
            <pc:docMk/>
            <pc:sldMk cId="204068251" sldId="374"/>
            <ac:spMk id="3" creationId="{B263EB24-4EBD-C158-9509-5F238A94E16D}"/>
          </ac:spMkLst>
        </pc:spChg>
        <pc:spChg chg="del">
          <ac:chgData name="Wilson, Benjamin" userId="5e565093-9b03-48e6-8226-93d7b7cd3493" providerId="ADAL" clId="{53FF904F-3F5D-4AC0-AD5C-4276B4F956CF}" dt="2022-12-18T22:38:33.688" v="7341" actId="478"/>
          <ac:spMkLst>
            <pc:docMk/>
            <pc:sldMk cId="204068251" sldId="374"/>
            <ac:spMk id="5" creationId="{14179DD9-378D-246C-93AB-A03FBACF2B9D}"/>
          </ac:spMkLst>
        </pc:spChg>
        <pc:spChg chg="add del mod modVis">
          <ac:chgData name="Wilson, Benjamin" userId="5e565093-9b03-48e6-8226-93d7b7cd3493" providerId="ADAL" clId="{53FF904F-3F5D-4AC0-AD5C-4276B4F956CF}" dt="2022-12-07T15:56:38.201" v="58"/>
          <ac:spMkLst>
            <pc:docMk/>
            <pc:sldMk cId="204068251" sldId="374"/>
            <ac:spMk id="6" creationId="{12738BC8-03BA-7F88-D284-5D4209CA3775}"/>
          </ac:spMkLst>
        </pc:spChg>
        <pc:graphicFrameChg chg="add mod ord modVis replST">
          <ac:chgData name="Wilson, Benjamin" userId="5e565093-9b03-48e6-8226-93d7b7cd3493" providerId="ADAL" clId="{53FF904F-3F5D-4AC0-AD5C-4276B4F956CF}" dt="2022-12-07T15:56:38.234" v="74"/>
          <ac:graphicFrameMkLst>
            <pc:docMk/>
            <pc:sldMk cId="204068251" sldId="374"/>
            <ac:graphicFrameMk id="7" creationId="{F5589FDC-2C02-2121-7204-DB67010032C3}"/>
          </ac:graphicFrameMkLst>
        </pc:graphicFrameChg>
      </pc:sldChg>
      <pc:sldChg chg="addSp delSp modSp add del mod addCm">
        <pc:chgData name="Wilson, Benjamin" userId="5e565093-9b03-48e6-8226-93d7b7cd3493" providerId="ADAL" clId="{53FF904F-3F5D-4AC0-AD5C-4276B4F956CF}" dt="2022-12-19T14:12:42.282" v="7553" actId="2696"/>
        <pc:sldMkLst>
          <pc:docMk/>
          <pc:sldMk cId="2646138043" sldId="375"/>
        </pc:sldMkLst>
        <pc:spChg chg="mod">
          <ac:chgData name="Wilson, Benjamin" userId="5e565093-9b03-48e6-8226-93d7b7cd3493" providerId="ADAL" clId="{53FF904F-3F5D-4AC0-AD5C-4276B4F956CF}" dt="2022-12-07T15:56:56.915" v="86" actId="948"/>
          <ac:spMkLst>
            <pc:docMk/>
            <pc:sldMk cId="2646138043" sldId="375"/>
            <ac:spMk id="3" creationId="{B263EB24-4EBD-C158-9509-5F238A94E16D}"/>
          </ac:spMkLst>
        </pc:spChg>
        <pc:spChg chg="mod">
          <ac:chgData name="Wilson, Benjamin" userId="5e565093-9b03-48e6-8226-93d7b7cd3493" providerId="ADAL" clId="{53FF904F-3F5D-4AC0-AD5C-4276B4F956CF}" dt="2022-12-18T19:51:17.982" v="3509" actId="20577"/>
          <ac:spMkLst>
            <pc:docMk/>
            <pc:sldMk cId="2646138043" sldId="375"/>
            <ac:spMk id="4" creationId="{2782EFFE-6FF7-2CE6-AB54-1FCBDBE640BE}"/>
          </ac:spMkLst>
        </pc:spChg>
        <pc:spChg chg="add del mod modVis">
          <ac:chgData name="Wilson, Benjamin" userId="5e565093-9b03-48e6-8226-93d7b7cd3493" providerId="ADAL" clId="{53FF904F-3F5D-4AC0-AD5C-4276B4F956CF}" dt="2022-12-07T15:56:56.936" v="127"/>
          <ac:spMkLst>
            <pc:docMk/>
            <pc:sldMk cId="2646138043" sldId="375"/>
            <ac:spMk id="6" creationId="{0BEFA5BF-FD0F-30D9-71C2-CCDFCEEFC724}"/>
          </ac:spMkLst>
        </pc:spChg>
        <pc:graphicFrameChg chg="mod">
          <ac:chgData name="Wilson, Benjamin" userId="5e565093-9b03-48e6-8226-93d7b7cd3493" providerId="ADAL" clId="{53FF904F-3F5D-4AC0-AD5C-4276B4F956CF}" dt="2022-12-07T15:56:56.938" v="129"/>
          <ac:graphicFrameMkLst>
            <pc:docMk/>
            <pc:sldMk cId="2646138043" sldId="375"/>
            <ac:graphicFrameMk id="7" creationId="{F5589FDC-2C02-2121-7204-DB67010032C3}"/>
          </ac:graphicFrameMkLst>
        </pc:graphicFrameChg>
        <pc:picChg chg="add mod">
          <ac:chgData name="Wilson, Benjamin" userId="5e565093-9b03-48e6-8226-93d7b7cd3493" providerId="ADAL" clId="{53FF904F-3F5D-4AC0-AD5C-4276B4F956CF}" dt="2022-12-07T15:57:03.446" v="131" actId="1076"/>
          <ac:picMkLst>
            <pc:docMk/>
            <pc:sldMk cId="2646138043" sldId="375"/>
            <ac:picMk id="8" creationId="{18670D86-0721-649A-FE8E-D7029DD8D004}"/>
          </ac:picMkLst>
        </pc:picChg>
      </pc:sldChg>
      <pc:sldChg chg="modSp mod">
        <pc:chgData name="Wilson, Benjamin" userId="5e565093-9b03-48e6-8226-93d7b7cd3493" providerId="ADAL" clId="{53FF904F-3F5D-4AC0-AD5C-4276B4F956CF}" dt="2022-12-18T19:51:24.868" v="3511" actId="20577"/>
        <pc:sldMkLst>
          <pc:docMk/>
          <pc:sldMk cId="499886420" sldId="376"/>
        </pc:sldMkLst>
        <pc:spChg chg="mod">
          <ac:chgData name="Wilson, Benjamin" userId="5e565093-9b03-48e6-8226-93d7b7cd3493" providerId="ADAL" clId="{53FF904F-3F5D-4AC0-AD5C-4276B4F956CF}" dt="2022-12-18T19:51:24.868" v="3511" actId="20577"/>
          <ac:spMkLst>
            <pc:docMk/>
            <pc:sldMk cId="499886420" sldId="376"/>
            <ac:spMk id="4" creationId="{2782EFFE-6FF7-2CE6-AB54-1FCBDBE640BE}"/>
          </ac:spMkLst>
        </pc:spChg>
      </pc:sldChg>
      <pc:sldChg chg="del">
        <pc:chgData name="Wilson, Benjamin" userId="5e565093-9b03-48e6-8226-93d7b7cd3493" providerId="ADAL" clId="{53FF904F-3F5D-4AC0-AD5C-4276B4F956CF}" dt="2022-12-18T18:57:52.237" v="513" actId="2696"/>
        <pc:sldMkLst>
          <pc:docMk/>
          <pc:sldMk cId="561630481" sldId="377"/>
        </pc:sldMkLst>
      </pc:sldChg>
      <pc:sldChg chg="modSp del mod">
        <pc:chgData name="Wilson, Benjamin" userId="5e565093-9b03-48e6-8226-93d7b7cd3493" providerId="ADAL" clId="{53FF904F-3F5D-4AC0-AD5C-4276B4F956CF}" dt="2022-12-18T19:09:10.455" v="1163" actId="2696"/>
        <pc:sldMkLst>
          <pc:docMk/>
          <pc:sldMk cId="1208244456" sldId="378"/>
        </pc:sldMkLst>
        <pc:spChg chg="mod">
          <ac:chgData name="Wilson, Benjamin" userId="5e565093-9b03-48e6-8226-93d7b7cd3493" providerId="ADAL" clId="{53FF904F-3F5D-4AC0-AD5C-4276B4F956CF}" dt="2022-12-18T18:58:54.415" v="536" actId="20577"/>
          <ac:spMkLst>
            <pc:docMk/>
            <pc:sldMk cId="1208244456" sldId="378"/>
            <ac:spMk id="4" creationId="{5C1F08BB-CC62-6E94-9EC2-A5B57DA2E510}"/>
          </ac:spMkLst>
        </pc:spChg>
      </pc:sldChg>
      <pc:sldChg chg="del">
        <pc:chgData name="Wilson, Benjamin" userId="5e565093-9b03-48e6-8226-93d7b7cd3493" providerId="ADAL" clId="{53FF904F-3F5D-4AC0-AD5C-4276B4F956CF}" dt="2022-12-18T19:17:17.535" v="1612" actId="2696"/>
        <pc:sldMkLst>
          <pc:docMk/>
          <pc:sldMk cId="2852348994" sldId="379"/>
        </pc:sldMkLst>
      </pc:sldChg>
      <pc:sldChg chg="addSp modSp del mod ord">
        <pc:chgData name="Wilson, Benjamin" userId="5e565093-9b03-48e6-8226-93d7b7cd3493" providerId="ADAL" clId="{53FF904F-3F5D-4AC0-AD5C-4276B4F956CF}" dt="2022-12-18T19:28:27.061" v="2130" actId="2696"/>
        <pc:sldMkLst>
          <pc:docMk/>
          <pc:sldMk cId="3087090011" sldId="380"/>
        </pc:sldMkLst>
        <pc:spChg chg="mod">
          <ac:chgData name="Wilson, Benjamin" userId="5e565093-9b03-48e6-8226-93d7b7cd3493" providerId="ADAL" clId="{53FF904F-3F5D-4AC0-AD5C-4276B4F956CF}" dt="2022-12-18T19:20:59.651" v="1740" actId="20577"/>
          <ac:spMkLst>
            <pc:docMk/>
            <pc:sldMk cId="3087090011" sldId="380"/>
            <ac:spMk id="4" creationId="{5C1F08BB-CC62-6E94-9EC2-A5B57DA2E510}"/>
          </ac:spMkLst>
        </pc:spChg>
        <pc:spChg chg="mod">
          <ac:chgData name="Wilson, Benjamin" userId="5e565093-9b03-48e6-8226-93d7b7cd3493" providerId="ADAL" clId="{53FF904F-3F5D-4AC0-AD5C-4276B4F956CF}" dt="2022-12-18T19:25:02.718" v="1826" actId="207"/>
          <ac:spMkLst>
            <pc:docMk/>
            <pc:sldMk cId="3087090011" sldId="380"/>
            <ac:spMk id="8" creationId="{3887E388-A046-8069-1254-8C48B3A5A8F1}"/>
          </ac:spMkLst>
        </pc:spChg>
        <pc:spChg chg="mod">
          <ac:chgData name="Wilson, Benjamin" userId="5e565093-9b03-48e6-8226-93d7b7cd3493" providerId="ADAL" clId="{53FF904F-3F5D-4AC0-AD5C-4276B4F956CF}" dt="2022-12-18T19:25:05.369" v="1827" actId="207"/>
          <ac:spMkLst>
            <pc:docMk/>
            <pc:sldMk cId="3087090011" sldId="380"/>
            <ac:spMk id="15" creationId="{193726CA-95D4-66C1-E867-06FE7B36E9E2}"/>
          </ac:spMkLst>
        </pc:spChg>
        <pc:grpChg chg="add mod">
          <ac:chgData name="Wilson, Benjamin" userId="5e565093-9b03-48e6-8226-93d7b7cd3493" providerId="ADAL" clId="{53FF904F-3F5D-4AC0-AD5C-4276B4F956CF}" dt="2022-12-18T19:24:57.488" v="1824" actId="1076"/>
          <ac:grpSpMkLst>
            <pc:docMk/>
            <pc:sldMk cId="3087090011" sldId="380"/>
            <ac:grpSpMk id="5" creationId="{7B85B859-CB51-8A71-35C4-D0E45DDE8852}"/>
          </ac:grpSpMkLst>
        </pc:grpChg>
        <pc:picChg chg="mod">
          <ac:chgData name="Wilson, Benjamin" userId="5e565093-9b03-48e6-8226-93d7b7cd3493" providerId="ADAL" clId="{53FF904F-3F5D-4AC0-AD5C-4276B4F956CF}" dt="2022-12-18T19:24:50.316" v="1822" actId="164"/>
          <ac:picMkLst>
            <pc:docMk/>
            <pc:sldMk cId="3087090011" sldId="380"/>
            <ac:picMk id="2" creationId="{B2DCCFA0-1BF1-769B-2003-6DC218FEEFC0}"/>
          </ac:picMkLst>
        </pc:picChg>
        <pc:picChg chg="mod">
          <ac:chgData name="Wilson, Benjamin" userId="5e565093-9b03-48e6-8226-93d7b7cd3493" providerId="ADAL" clId="{53FF904F-3F5D-4AC0-AD5C-4276B4F956CF}" dt="2022-12-18T19:24:50.316" v="1822" actId="164"/>
          <ac:picMkLst>
            <pc:docMk/>
            <pc:sldMk cId="3087090011" sldId="380"/>
            <ac:picMk id="7" creationId="{6AAFC982-6890-A700-500B-141E3887BA7F}"/>
          </ac:picMkLst>
        </pc:picChg>
        <pc:picChg chg="mod">
          <ac:chgData name="Wilson, Benjamin" userId="5e565093-9b03-48e6-8226-93d7b7cd3493" providerId="ADAL" clId="{53FF904F-3F5D-4AC0-AD5C-4276B4F956CF}" dt="2022-12-18T19:24:50.316" v="1822" actId="164"/>
          <ac:picMkLst>
            <pc:docMk/>
            <pc:sldMk cId="3087090011" sldId="380"/>
            <ac:picMk id="10" creationId="{5952E824-7251-EA95-1810-46E9599A1BA4}"/>
          </ac:picMkLst>
        </pc:picChg>
        <pc:picChg chg="mod">
          <ac:chgData name="Wilson, Benjamin" userId="5e565093-9b03-48e6-8226-93d7b7cd3493" providerId="ADAL" clId="{53FF904F-3F5D-4AC0-AD5C-4276B4F956CF}" dt="2022-12-18T19:24:50.316" v="1822" actId="164"/>
          <ac:picMkLst>
            <pc:docMk/>
            <pc:sldMk cId="3087090011" sldId="380"/>
            <ac:picMk id="12" creationId="{F71F623B-68EE-5D91-9DC3-9E365E5295E4}"/>
          </ac:picMkLst>
        </pc:picChg>
      </pc:sldChg>
      <pc:sldChg chg="addSp delSp modSp del mod">
        <pc:chgData name="Wilson, Benjamin" userId="5e565093-9b03-48e6-8226-93d7b7cd3493" providerId="ADAL" clId="{53FF904F-3F5D-4AC0-AD5C-4276B4F956CF}" dt="2022-12-18T19:39:26.189" v="2934" actId="2696"/>
        <pc:sldMkLst>
          <pc:docMk/>
          <pc:sldMk cId="2230597773" sldId="381"/>
        </pc:sldMkLst>
        <pc:spChg chg="add del mod">
          <ac:chgData name="Wilson, Benjamin" userId="5e565093-9b03-48e6-8226-93d7b7cd3493" providerId="ADAL" clId="{53FF904F-3F5D-4AC0-AD5C-4276B4F956CF}" dt="2022-12-18T19:30:06.568" v="2134"/>
          <ac:spMkLst>
            <pc:docMk/>
            <pc:sldMk cId="2230597773" sldId="381"/>
            <ac:spMk id="2" creationId="{257DBC78-017F-3969-398B-AE25BB55CD02}"/>
          </ac:spMkLst>
        </pc:spChg>
        <pc:spChg chg="mod">
          <ac:chgData name="Wilson, Benjamin" userId="5e565093-9b03-48e6-8226-93d7b7cd3493" providerId="ADAL" clId="{53FF904F-3F5D-4AC0-AD5C-4276B4F956CF}" dt="2022-12-18T19:21:23.949" v="1744" actId="20577"/>
          <ac:spMkLst>
            <pc:docMk/>
            <pc:sldMk cId="2230597773" sldId="381"/>
            <ac:spMk id="4" creationId="{5C1F08BB-CC62-6E94-9EC2-A5B57DA2E510}"/>
          </ac:spMkLst>
        </pc:spChg>
      </pc:sldChg>
      <pc:sldChg chg="addSp delSp modSp del mod">
        <pc:chgData name="Wilson, Benjamin" userId="5e565093-9b03-48e6-8226-93d7b7cd3493" providerId="ADAL" clId="{53FF904F-3F5D-4AC0-AD5C-4276B4F956CF}" dt="2022-12-18T19:43:43.285" v="3202" actId="2696"/>
        <pc:sldMkLst>
          <pc:docMk/>
          <pc:sldMk cId="2265196282" sldId="382"/>
        </pc:sldMkLst>
        <pc:spChg chg="add del mod modVis">
          <ac:chgData name="Wilson, Benjamin" userId="5e565093-9b03-48e6-8226-93d7b7cd3493" providerId="ADAL" clId="{53FF904F-3F5D-4AC0-AD5C-4276B4F956CF}" dt="2022-12-18T19:40:47.096" v="2981"/>
          <ac:spMkLst>
            <pc:docMk/>
            <pc:sldMk cId="2265196282" sldId="382"/>
            <ac:spMk id="2" creationId="{27D97B40-707E-77B7-B801-75E2E239A9DA}"/>
          </ac:spMkLst>
        </pc:spChg>
        <pc:spChg chg="mod">
          <ac:chgData name="Wilson, Benjamin" userId="5e565093-9b03-48e6-8226-93d7b7cd3493" providerId="ADAL" clId="{53FF904F-3F5D-4AC0-AD5C-4276B4F956CF}" dt="2022-12-18T19:40:47.064" v="2940" actId="948"/>
          <ac:spMkLst>
            <pc:docMk/>
            <pc:sldMk cId="2265196282" sldId="382"/>
            <ac:spMk id="3" creationId="{305F9436-CCF7-5AD1-7B91-8AFA3EBE05FE}"/>
          </ac:spMkLst>
        </pc:spChg>
        <pc:spChg chg="mod">
          <ac:chgData name="Wilson, Benjamin" userId="5e565093-9b03-48e6-8226-93d7b7cd3493" providerId="ADAL" clId="{53FF904F-3F5D-4AC0-AD5C-4276B4F956CF}" dt="2022-12-18T19:29:04.788" v="2132" actId="20577"/>
          <ac:spMkLst>
            <pc:docMk/>
            <pc:sldMk cId="2265196282" sldId="382"/>
            <ac:spMk id="4" creationId="{5C1F08BB-CC62-6E94-9EC2-A5B57DA2E510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19:40:47.110" v="2997"/>
          <ac:graphicFrameMkLst>
            <pc:docMk/>
            <pc:sldMk cId="2265196282" sldId="382"/>
            <ac:graphicFrameMk id="6" creationId="{11B36E95-8441-18CE-801D-9406FE062FF3}"/>
          </ac:graphicFrameMkLst>
        </pc:graphicFrameChg>
      </pc:sldChg>
      <pc:sldChg chg="add del">
        <pc:chgData name="Wilson, Benjamin" userId="5e565093-9b03-48e6-8226-93d7b7cd3493" providerId="ADAL" clId="{53FF904F-3F5D-4AC0-AD5C-4276B4F956CF}" dt="2022-12-19T14:14:31.987" v="7556" actId="2696"/>
        <pc:sldMkLst>
          <pc:docMk/>
          <pc:sldMk cId="1335576076" sldId="384"/>
        </pc:sldMkLst>
      </pc:sldChg>
      <pc:sldChg chg="addSp delSp modSp add del mod modClrScheme chgLayout">
        <pc:chgData name="Wilson, Benjamin" userId="5e565093-9b03-48e6-8226-93d7b7cd3493" providerId="ADAL" clId="{53FF904F-3F5D-4AC0-AD5C-4276B4F956CF}" dt="2022-12-18T21:58:07.444" v="4704" actId="108"/>
        <pc:sldMkLst>
          <pc:docMk/>
          <pc:sldMk cId="2650861593" sldId="386"/>
        </pc:sldMkLst>
        <pc:spChg chg="add del mod">
          <ac:chgData name="Wilson, Benjamin" userId="5e565093-9b03-48e6-8226-93d7b7cd3493" providerId="ADAL" clId="{53FF904F-3F5D-4AC0-AD5C-4276B4F956CF}" dt="2022-12-18T21:53:34.624" v="4546" actId="478"/>
          <ac:spMkLst>
            <pc:docMk/>
            <pc:sldMk cId="2650861593" sldId="386"/>
            <ac:spMk id="2" creationId="{CE6902A5-B8E0-6853-B008-7910467CF5B1}"/>
          </ac:spMkLst>
        </pc:spChg>
        <pc:spChg chg="add del mod">
          <ac:chgData name="Wilson, Benjamin" userId="5e565093-9b03-48e6-8226-93d7b7cd3493" providerId="ADAL" clId="{53FF904F-3F5D-4AC0-AD5C-4276B4F956CF}" dt="2022-12-18T19:47:27.342" v="3475" actId="478"/>
          <ac:spMkLst>
            <pc:docMk/>
            <pc:sldMk cId="2650861593" sldId="386"/>
            <ac:spMk id="2" creationId="{F0EF8CBD-4818-14AF-6D9D-EFFD4D8EAAF3}"/>
          </ac:spMkLst>
        </pc:spChg>
        <pc:spChg chg="mod or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3" creationId="{D546559E-9618-3017-9939-4F350D76E331}"/>
          </ac:spMkLst>
        </pc:spChg>
        <pc:spChg chg="mod or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" creationId="{FE9FC4B6-7783-03B5-36FD-2E4F8547B79F}"/>
          </ac:spMkLst>
        </pc:spChg>
        <pc:spChg chg="mod or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5" creationId="{A7E9A84A-D215-AFD6-486B-E07F63D29D77}"/>
          </ac:spMkLst>
        </pc:spChg>
        <pc:spChg chg="mod or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6" creationId="{71DAA094-C32D-0F09-B5EC-620A981ADD78}"/>
          </ac:spMkLst>
        </pc:spChg>
        <pc:spChg chg="mod or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7" creationId="{39FEDD96-D382-FC7C-B19B-E6ACC2F8A458}"/>
          </ac:spMkLst>
        </pc:spChg>
        <pc:spChg chg="add del mod or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8" creationId="{D0D7F331-4F63-28FB-0D39-922F1160722D}"/>
          </ac:spMkLst>
        </pc:spChg>
        <pc:spChg chg="add mod">
          <ac:chgData name="Wilson, Benjamin" userId="5e565093-9b03-48e6-8226-93d7b7cd3493" providerId="ADAL" clId="{53FF904F-3F5D-4AC0-AD5C-4276B4F956CF}" dt="2022-12-18T19:47:54.305" v="3480" actId="1582"/>
          <ac:spMkLst>
            <pc:docMk/>
            <pc:sldMk cId="2650861593" sldId="386"/>
            <ac:spMk id="9" creationId="{694F75F0-5245-4FA7-D4C0-9D41479B2A32}"/>
          </ac:spMkLst>
        </pc:spChg>
        <pc:spChg chg="add del mod">
          <ac:chgData name="Wilson, Benjamin" userId="5e565093-9b03-48e6-8226-93d7b7cd3493" providerId="ADAL" clId="{53FF904F-3F5D-4AC0-AD5C-4276B4F956CF}" dt="2022-12-18T21:53:54.339" v="4597" actId="478"/>
          <ac:spMkLst>
            <pc:docMk/>
            <pc:sldMk cId="2650861593" sldId="386"/>
            <ac:spMk id="11" creationId="{CA2BB482-A158-0E4A-1196-9FAD0B0B92F0}"/>
          </ac:spMkLst>
        </pc:spChg>
        <pc:spChg chg="add del mod">
          <ac:chgData name="Wilson, Benjamin" userId="5e565093-9b03-48e6-8226-93d7b7cd3493" providerId="ADAL" clId="{53FF904F-3F5D-4AC0-AD5C-4276B4F956CF}" dt="2022-12-18T21:53:50.010" v="4572"/>
          <ac:spMkLst>
            <pc:docMk/>
            <pc:sldMk cId="2650861593" sldId="386"/>
            <ac:spMk id="13" creationId="{FFFAA2DA-8740-0127-D3B3-3166070C49E7}"/>
          </ac:spMkLst>
        </pc:spChg>
        <pc:spChg chg="add del mod">
          <ac:chgData name="Wilson, Benjamin" userId="5e565093-9b03-48e6-8226-93d7b7cd3493" providerId="ADAL" clId="{53FF904F-3F5D-4AC0-AD5C-4276B4F956CF}" dt="2022-12-18T21:53:50.010" v="4572"/>
          <ac:spMkLst>
            <pc:docMk/>
            <pc:sldMk cId="2650861593" sldId="386"/>
            <ac:spMk id="14" creationId="{FC62C248-2B4A-96C1-7A10-06D958F079FB}"/>
          </ac:spMkLst>
        </pc:spChg>
        <pc:spChg chg="add del mod">
          <ac:chgData name="Wilson, Benjamin" userId="5e565093-9b03-48e6-8226-93d7b7cd3493" providerId="ADAL" clId="{53FF904F-3F5D-4AC0-AD5C-4276B4F956CF}" dt="2022-12-18T21:55:20.995" v="4673"/>
          <ac:spMkLst>
            <pc:docMk/>
            <pc:sldMk cId="2650861593" sldId="386"/>
            <ac:spMk id="15" creationId="{80DC1967-BE57-E729-4B62-B7FFA35E9ABE}"/>
          </ac:spMkLst>
        </pc:spChg>
        <pc:spChg chg="add del mod">
          <ac:chgData name="Wilson, Benjamin" userId="5e565093-9b03-48e6-8226-93d7b7cd3493" providerId="ADAL" clId="{53FF904F-3F5D-4AC0-AD5C-4276B4F956CF}" dt="2022-12-18T21:56:28.590" v="4680" actId="478"/>
          <ac:spMkLst>
            <pc:docMk/>
            <pc:sldMk cId="2650861593" sldId="386"/>
            <ac:spMk id="16" creationId="{14B41F9A-FD9C-7592-DF70-721102B00CD5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17" creationId="{58ABC6D8-3D49-6DE1-2119-382C458302F9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18" creationId="{37CB048C-2938-1956-BBCC-712743983AAF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19" creationId="{6466EDA5-A0C4-A115-7A8D-AD82943C5E07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20" creationId="{3538BF76-039A-65CE-9F35-ED244C33038E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21" creationId="{85FC6F3A-AF1B-AD72-80A7-C1C84514851F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22" creationId="{3D4C55D5-4880-47FD-EF27-23AF2AB40B0B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23" creationId="{48AB31DC-6FBE-E44E-AF83-6094345DF115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30" creationId="{14C43E30-67E7-C253-D2C8-D5E57DE3BF21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32" creationId="{3A6B6EF0-B528-C14C-DFB5-BD961F8A4B2C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33" creationId="{FB5A8B06-10FF-AE3E-D84D-16647CB42668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0" creationId="{5F5F5324-3D27-8130-4559-1AB3C574FDA0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1" creationId="{D0BA19FA-F564-422A-35AC-F0C1E578B865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2" creationId="{0E4A68F2-C1F8-FE05-D6AB-11694B710922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3" creationId="{48D47870-ED0F-E8BF-B966-7D6D2658D763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4" creationId="{D7C4DCA9-906E-9300-02D3-0C1D250881CF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5" creationId="{8CF0729B-9895-C5D6-20D8-A7B911FA0BB4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6" creationId="{A97F2B79-9304-825D-2554-0266C9066570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7" creationId="{0F364354-2643-82B9-06CF-C304F05BC38A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8" creationId="{4825B5B0-918F-3770-FA5E-00AADC1AF8D7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49" creationId="{1D265CE6-6BD2-8238-008C-FF98010DAF03}"/>
          </ac:spMkLst>
        </pc:spChg>
        <pc:spChg chg="add del mod">
          <ac:chgData name="Wilson, Benjamin" userId="5e565093-9b03-48e6-8226-93d7b7cd3493" providerId="ADAL" clId="{53FF904F-3F5D-4AC0-AD5C-4276B4F956CF}" dt="2022-12-18T21:56:48.326" v="4685"/>
          <ac:spMkLst>
            <pc:docMk/>
            <pc:sldMk cId="2650861593" sldId="386"/>
            <ac:spMk id="50" creationId="{03182171-5094-6F71-2A07-F896E8E196F3}"/>
          </ac:spMkLst>
        </pc:spChg>
        <pc:spChg chg="add mod">
          <ac:chgData name="Wilson, Benjamin" userId="5e565093-9b03-48e6-8226-93d7b7cd3493" providerId="ADAL" clId="{53FF904F-3F5D-4AC0-AD5C-4276B4F956CF}" dt="2022-12-18T21:58:07.444" v="4704" actId="108"/>
          <ac:spMkLst>
            <pc:docMk/>
            <pc:sldMk cId="2650861593" sldId="386"/>
            <ac:spMk id="51" creationId="{77406F3D-5FF6-4260-2093-1C938C713955}"/>
          </ac:spMkLst>
        </pc:spChg>
        <pc:graphicFrameChg chg="add mod ord modVis replST delST">
          <ac:chgData name="Wilson, Benjamin" userId="5e565093-9b03-48e6-8226-93d7b7cd3493" providerId="ADAL" clId="{53FF904F-3F5D-4AC0-AD5C-4276B4F956CF}" dt="2022-12-18T21:53:54.339" v="4594" actId="14100"/>
          <ac:graphicFrameMkLst>
            <pc:docMk/>
            <pc:sldMk cId="2650861593" sldId="386"/>
            <ac:graphicFrameMk id="12" creationId="{5E8E73D4-3808-C3F0-5421-931DF5E920AF}"/>
          </ac:graphicFrameMkLst>
        </pc:graphicFrameChg>
      </pc:sldChg>
      <pc:sldChg chg="addSp modSp">
        <pc:chgData name="Wilson, Benjamin" userId="5e565093-9b03-48e6-8226-93d7b7cd3493" providerId="ADAL" clId="{53FF904F-3F5D-4AC0-AD5C-4276B4F956CF}" dt="2022-12-18T21:58:36.145" v="4708"/>
        <pc:sldMkLst>
          <pc:docMk/>
          <pc:sldMk cId="2383823832" sldId="388"/>
        </pc:sldMkLst>
        <pc:spChg chg="add mod">
          <ac:chgData name="Wilson, Benjamin" userId="5e565093-9b03-48e6-8226-93d7b7cd3493" providerId="ADAL" clId="{53FF904F-3F5D-4AC0-AD5C-4276B4F956CF}" dt="2022-12-18T21:58:36.145" v="4708"/>
          <ac:spMkLst>
            <pc:docMk/>
            <pc:sldMk cId="2383823832" sldId="388"/>
            <ac:spMk id="9" creationId="{6D596157-0D27-A2EA-876A-7432222EE776}"/>
          </ac:spMkLst>
        </pc:spChg>
      </pc:sldChg>
      <pc:sldChg chg="addSp modSp mod">
        <pc:chgData name="Wilson, Benjamin" userId="5e565093-9b03-48e6-8226-93d7b7cd3493" providerId="ADAL" clId="{53FF904F-3F5D-4AC0-AD5C-4276B4F956CF}" dt="2022-12-18T21:58:32.355" v="4707" actId="108"/>
        <pc:sldMkLst>
          <pc:docMk/>
          <pc:sldMk cId="126228256" sldId="389"/>
        </pc:sldMkLst>
        <pc:spChg chg="add mod">
          <ac:chgData name="Wilson, Benjamin" userId="5e565093-9b03-48e6-8226-93d7b7cd3493" providerId="ADAL" clId="{53FF904F-3F5D-4AC0-AD5C-4276B4F956CF}" dt="2022-12-18T21:58:32.355" v="4707" actId="108"/>
          <ac:spMkLst>
            <pc:docMk/>
            <pc:sldMk cId="126228256" sldId="389"/>
            <ac:spMk id="2" creationId="{3818D490-B282-D755-C4D5-0E8D1B5DE6F0}"/>
          </ac:spMkLst>
        </pc:spChg>
      </pc:sldChg>
      <pc:sldChg chg="addSp delSp modSp mod">
        <pc:chgData name="Wilson, Benjamin" userId="5e565093-9b03-48e6-8226-93d7b7cd3493" providerId="ADAL" clId="{53FF904F-3F5D-4AC0-AD5C-4276B4F956CF}" dt="2022-12-18T22:23:14.319" v="6614" actId="20577"/>
        <pc:sldMkLst>
          <pc:docMk/>
          <pc:sldMk cId="2336129016" sldId="390"/>
        </pc:sldMkLst>
        <pc:spChg chg="mod">
          <ac:chgData name="Wilson, Benjamin" userId="5e565093-9b03-48e6-8226-93d7b7cd3493" providerId="ADAL" clId="{53FF904F-3F5D-4AC0-AD5C-4276B4F956CF}" dt="2022-12-18T22:17:26.940" v="6006" actId="948"/>
          <ac:spMkLst>
            <pc:docMk/>
            <pc:sldMk cId="2336129016" sldId="390"/>
            <ac:spMk id="3" creationId="{305F9436-CCF7-5AD1-7B91-8AFA3EBE05FE}"/>
          </ac:spMkLst>
        </pc:spChg>
        <pc:spChg chg="del">
          <ac:chgData name="Wilson, Benjamin" userId="5e565093-9b03-48e6-8226-93d7b7cd3493" providerId="ADAL" clId="{53FF904F-3F5D-4AC0-AD5C-4276B4F956CF}" dt="2022-12-18T21:51:45.568" v="4544" actId="478"/>
          <ac:spMkLst>
            <pc:docMk/>
            <pc:sldMk cId="2336129016" sldId="390"/>
            <ac:spMk id="5" creationId="{40A2CAAB-A90B-2A37-95C1-4E1E85C4AA57}"/>
          </ac:spMkLst>
        </pc:spChg>
        <pc:spChg chg="add del mod modVis">
          <ac:chgData name="Wilson, Benjamin" userId="5e565093-9b03-48e6-8226-93d7b7cd3493" providerId="ADAL" clId="{53FF904F-3F5D-4AC0-AD5C-4276B4F956CF}" dt="2022-12-18T22:17:11.704" v="5887"/>
          <ac:spMkLst>
            <pc:docMk/>
            <pc:sldMk cId="2336129016" sldId="390"/>
            <ac:spMk id="7" creationId="{B74DB8F7-855B-427D-A37F-3B6B900529A4}"/>
          </ac:spMkLst>
        </pc:spChg>
        <pc:spChg chg="mod">
          <ac:chgData name="Wilson, Benjamin" userId="5e565093-9b03-48e6-8226-93d7b7cd3493" providerId="ADAL" clId="{53FF904F-3F5D-4AC0-AD5C-4276B4F956CF}" dt="2022-12-18T22:20:52.802" v="6300" actId="20577"/>
          <ac:spMkLst>
            <pc:docMk/>
            <pc:sldMk cId="2336129016" sldId="390"/>
            <ac:spMk id="14" creationId="{878746A9-E886-E604-FDA8-C1961ED18C5F}"/>
          </ac:spMkLst>
        </pc:spChg>
        <pc:spChg chg="mod">
          <ac:chgData name="Wilson, Benjamin" userId="5e565093-9b03-48e6-8226-93d7b7cd3493" providerId="ADAL" clId="{53FF904F-3F5D-4AC0-AD5C-4276B4F956CF}" dt="2022-12-18T22:23:14.319" v="6614" actId="20577"/>
          <ac:spMkLst>
            <pc:docMk/>
            <pc:sldMk cId="2336129016" sldId="390"/>
            <ac:spMk id="15" creationId="{B990E2E7-4966-16F1-D0F2-79B6EE34FA34}"/>
          </ac:spMkLst>
        </pc:spChg>
        <pc:spChg chg="add del mod modVis">
          <ac:chgData name="Wilson, Benjamin" userId="5e565093-9b03-48e6-8226-93d7b7cd3493" providerId="ADAL" clId="{53FF904F-3F5D-4AC0-AD5C-4276B4F956CF}" dt="2022-12-18T22:17:22.722" v="5948"/>
          <ac:spMkLst>
            <pc:docMk/>
            <pc:sldMk cId="2336129016" sldId="390"/>
            <ac:spMk id="16" creationId="{E5787D2F-D23D-E738-50BA-98E0B1D78C7C}"/>
          </ac:spMkLst>
        </pc:spChg>
        <pc:spChg chg="add del mod modVis">
          <ac:chgData name="Wilson, Benjamin" userId="5e565093-9b03-48e6-8226-93d7b7cd3493" providerId="ADAL" clId="{53FF904F-3F5D-4AC0-AD5C-4276B4F956CF}" dt="2022-12-18T22:17:23.908" v="5997"/>
          <ac:spMkLst>
            <pc:docMk/>
            <pc:sldMk cId="2336129016" sldId="390"/>
            <ac:spMk id="21" creationId="{A3EEC36C-4C63-F225-132B-237E010A810B}"/>
          </ac:spMkLst>
        </pc:spChg>
        <pc:spChg chg="add del mod modVis">
          <ac:chgData name="Wilson, Benjamin" userId="5e565093-9b03-48e6-8226-93d7b7cd3493" providerId="ADAL" clId="{53FF904F-3F5D-4AC0-AD5C-4276B4F956CF}" dt="2022-12-18T22:17:26.974" v="6047"/>
          <ac:spMkLst>
            <pc:docMk/>
            <pc:sldMk cId="2336129016" sldId="390"/>
            <ac:spMk id="22" creationId="{09014A29-C2AA-C128-8E76-83AA1DF910F7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2:17:26.976" v="6049"/>
          <ac:graphicFrameMkLst>
            <pc:docMk/>
            <pc:sldMk cId="2336129016" sldId="390"/>
            <ac:graphicFrameMk id="10" creationId="{03CE5FFB-17BC-CDD2-C00B-78DD6F64AAD7}"/>
          </ac:graphicFrameMkLst>
        </pc:graphicFrameChg>
      </pc:sldChg>
      <pc:sldChg chg="addSp delSp modSp del mod">
        <pc:chgData name="Wilson, Benjamin" userId="5e565093-9b03-48e6-8226-93d7b7cd3493" providerId="ADAL" clId="{53FF904F-3F5D-4AC0-AD5C-4276B4F956CF}" dt="2022-12-18T22:01:55.444" v="4829" actId="2696"/>
        <pc:sldMkLst>
          <pc:docMk/>
          <pc:sldMk cId="3905380672" sldId="391"/>
        </pc:sldMkLst>
        <pc:spChg chg="del">
          <ac:chgData name="Wilson, Benjamin" userId="5e565093-9b03-48e6-8226-93d7b7cd3493" providerId="ADAL" clId="{53FF904F-3F5D-4AC0-AD5C-4276B4F956CF}" dt="2022-12-18T21:59:00.225" v="4709" actId="478"/>
          <ac:spMkLst>
            <pc:docMk/>
            <pc:sldMk cId="3905380672" sldId="391"/>
            <ac:spMk id="3" creationId="{305F9436-CCF7-5AD1-7B91-8AFA3EBE05FE}"/>
          </ac:spMkLst>
        </pc:spChg>
        <pc:spChg chg="add del mod">
          <ac:chgData name="Wilson, Benjamin" userId="5e565093-9b03-48e6-8226-93d7b7cd3493" providerId="ADAL" clId="{53FF904F-3F5D-4AC0-AD5C-4276B4F956CF}" dt="2022-12-18T21:59:01.428" v="4728" actId="478"/>
          <ac:spMkLst>
            <pc:docMk/>
            <pc:sldMk cId="3905380672" sldId="391"/>
            <ac:spMk id="7" creationId="{D90A85F6-322C-EF17-FAB2-EC0B188BA556}"/>
          </ac:spMkLst>
        </pc:spChg>
        <pc:spChg chg="add mod">
          <ac:chgData name="Wilson, Benjamin" userId="5e565093-9b03-48e6-8226-93d7b7cd3493" providerId="ADAL" clId="{53FF904F-3F5D-4AC0-AD5C-4276B4F956CF}" dt="2022-12-18T21:59:12.587" v="4750" actId="948"/>
          <ac:spMkLst>
            <pc:docMk/>
            <pc:sldMk cId="3905380672" sldId="391"/>
            <ac:spMk id="9" creationId="{89824344-90AA-B94D-18A8-6B767FACDF86}"/>
          </ac:spMkLst>
        </pc:spChg>
        <pc:spChg chg="add mod">
          <ac:chgData name="Wilson, Benjamin" userId="5e565093-9b03-48e6-8226-93d7b7cd3493" providerId="ADAL" clId="{53FF904F-3F5D-4AC0-AD5C-4276B4F956CF}" dt="2022-12-18T21:59:09.110" v="4743" actId="20577"/>
          <ac:spMkLst>
            <pc:docMk/>
            <pc:sldMk cId="3905380672" sldId="391"/>
            <ac:spMk id="10" creationId="{EE360D3C-E825-7657-1427-E7A3723D4DEE}"/>
          </ac:spMkLst>
        </pc:spChg>
        <pc:spChg chg="add del mod modVis">
          <ac:chgData name="Wilson, Benjamin" userId="5e565093-9b03-48e6-8226-93d7b7cd3493" providerId="ADAL" clId="{53FF904F-3F5D-4AC0-AD5C-4276B4F956CF}" dt="2022-12-18T21:59:12.620" v="4791"/>
          <ac:spMkLst>
            <pc:docMk/>
            <pc:sldMk cId="3905380672" sldId="391"/>
            <ac:spMk id="11" creationId="{DB749E57-0C32-EF2C-E856-CBA645E640A1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1:59:12.625" v="4793"/>
          <ac:graphicFrameMkLst>
            <pc:docMk/>
            <pc:sldMk cId="3905380672" sldId="391"/>
            <ac:graphicFrameMk id="8" creationId="{12549951-F9B0-0957-AC95-ABF2AA8A3EF5}"/>
          </ac:graphicFrameMkLst>
        </pc:graphicFrameChg>
      </pc:sldChg>
      <pc:sldChg chg="del">
        <pc:chgData name="Wilson, Benjamin" userId="5e565093-9b03-48e6-8226-93d7b7cd3493" providerId="ADAL" clId="{53FF904F-3F5D-4AC0-AD5C-4276B4F956CF}" dt="2022-12-18T19:02:06.107" v="553" actId="2696"/>
        <pc:sldMkLst>
          <pc:docMk/>
          <pc:sldMk cId="3580339269" sldId="4931"/>
        </pc:sldMkLst>
      </pc:sldChg>
      <pc:sldChg chg="addSp delSp modSp del mod">
        <pc:chgData name="Wilson, Benjamin" userId="5e565093-9b03-48e6-8226-93d7b7cd3493" providerId="ADAL" clId="{53FF904F-3F5D-4AC0-AD5C-4276B4F956CF}" dt="2022-12-18T19:57:07.993" v="3713" actId="2696"/>
        <pc:sldMkLst>
          <pc:docMk/>
          <pc:sldMk cId="2774757294" sldId="11634"/>
        </pc:sldMkLst>
        <pc:spChg chg="del">
          <ac:chgData name="Wilson, Benjamin" userId="5e565093-9b03-48e6-8226-93d7b7cd3493" providerId="ADAL" clId="{53FF904F-3F5D-4AC0-AD5C-4276B4F956CF}" dt="2022-12-18T19:54:42.361" v="3519" actId="478"/>
          <ac:spMkLst>
            <pc:docMk/>
            <pc:sldMk cId="2774757294" sldId="11634"/>
            <ac:spMk id="2" creationId="{6C20E66F-4F63-46C0-9A16-8105EB83EB6C}"/>
          </ac:spMkLst>
        </pc:spChg>
        <pc:spChg chg="add del mod">
          <ac:chgData name="Wilson, Benjamin" userId="5e565093-9b03-48e6-8226-93d7b7cd3493" providerId="ADAL" clId="{53FF904F-3F5D-4AC0-AD5C-4276B4F956CF}" dt="2022-12-18T19:54:44.379" v="3524" actId="478"/>
          <ac:spMkLst>
            <pc:docMk/>
            <pc:sldMk cId="2774757294" sldId="11634"/>
            <ac:spMk id="5" creationId="{9E447F3A-04F0-DEA0-509F-D2C0CF2E6101}"/>
          </ac:spMkLst>
        </pc:spChg>
        <pc:graphicFrameChg chg="mod">
          <ac:chgData name="Wilson, Benjamin" userId="5e565093-9b03-48e6-8226-93d7b7cd3493" providerId="ADAL" clId="{53FF904F-3F5D-4AC0-AD5C-4276B4F956CF}" dt="2022-12-18T19:54:44.890" v="3528"/>
          <ac:graphicFrameMkLst>
            <pc:docMk/>
            <pc:sldMk cId="2774757294" sldId="11634"/>
            <ac:graphicFrameMk id="3" creationId="{36AEE2BF-34E0-46E2-B80D-0107112B3635}"/>
          </ac:graphicFrameMkLst>
        </pc:graphicFrameChg>
      </pc:sldChg>
      <pc:sldChg chg="del">
        <pc:chgData name="Wilson, Benjamin" userId="5e565093-9b03-48e6-8226-93d7b7cd3493" providerId="ADAL" clId="{53FF904F-3F5D-4AC0-AD5C-4276B4F956CF}" dt="2022-12-18T19:55:47.743" v="3638" actId="2696"/>
        <pc:sldMkLst>
          <pc:docMk/>
          <pc:sldMk cId="2341752145" sldId="11989"/>
        </pc:sldMkLst>
      </pc:sldChg>
      <pc:sldChg chg="addSp delSp modSp del mod">
        <pc:chgData name="Wilson, Benjamin" userId="5e565093-9b03-48e6-8226-93d7b7cd3493" providerId="ADAL" clId="{53FF904F-3F5D-4AC0-AD5C-4276B4F956CF}" dt="2022-12-18T18:55:21.160" v="265" actId="2696"/>
        <pc:sldMkLst>
          <pc:docMk/>
          <pc:sldMk cId="2687673208" sldId="2141410961"/>
        </pc:sldMkLst>
        <pc:spChg chg="del">
          <ac:chgData name="Wilson, Benjamin" userId="5e565093-9b03-48e6-8226-93d7b7cd3493" providerId="ADAL" clId="{53FF904F-3F5D-4AC0-AD5C-4276B4F956CF}" dt="2022-12-18T18:51:55.828" v="182" actId="478"/>
          <ac:spMkLst>
            <pc:docMk/>
            <pc:sldMk cId="2687673208" sldId="2141410961"/>
            <ac:spMk id="5" creationId="{3B84D4E7-8D15-4AFA-8EA1-5C5916040C12}"/>
          </ac:spMkLst>
        </pc:spChg>
        <pc:spChg chg="add mod">
          <ac:chgData name="Wilson, Benjamin" userId="5e565093-9b03-48e6-8226-93d7b7cd3493" providerId="ADAL" clId="{53FF904F-3F5D-4AC0-AD5C-4276B4F956CF}" dt="2022-12-18T18:51:55.828" v="182" actId="478"/>
          <ac:spMkLst>
            <pc:docMk/>
            <pc:sldMk cId="2687673208" sldId="2141410961"/>
            <ac:spMk id="6" creationId="{50CA8C93-E22F-8085-7983-9624511874DC}"/>
          </ac:spMkLst>
        </pc:spChg>
        <pc:graphicFrameChg chg="mod">
          <ac:chgData name="Wilson, Benjamin" userId="5e565093-9b03-48e6-8226-93d7b7cd3493" providerId="ADAL" clId="{53FF904F-3F5D-4AC0-AD5C-4276B4F956CF}" dt="2022-12-18T18:51:56.354" v="186"/>
          <ac:graphicFrameMkLst>
            <pc:docMk/>
            <pc:sldMk cId="2687673208" sldId="2141410961"/>
            <ac:graphicFrameMk id="15" creationId="{836174FD-CA2B-46D5-8A7F-F8F9F3B6A296}"/>
          </ac:graphicFrameMkLst>
        </pc:graphicFrameChg>
      </pc:sldChg>
      <pc:sldChg chg="addSp delSp modSp new add mod ord">
        <pc:chgData name="Wilson, Benjamin" userId="5e565093-9b03-48e6-8226-93d7b7cd3493" providerId="ADAL" clId="{53FF904F-3F5D-4AC0-AD5C-4276B4F956CF}" dt="2022-12-18T19:22:12.019" v="1821" actId="20577"/>
        <pc:sldMkLst>
          <pc:docMk/>
          <pc:sldMk cId="1828078409" sldId="2141410962"/>
        </pc:sldMkLst>
        <pc:spChg chg="del">
          <ac:chgData name="Wilson, Benjamin" userId="5e565093-9b03-48e6-8226-93d7b7cd3493" providerId="ADAL" clId="{53FF904F-3F5D-4AC0-AD5C-4276B4F956CF}" dt="2022-12-18T18:52:12.505" v="210" actId="478"/>
          <ac:spMkLst>
            <pc:docMk/>
            <pc:sldMk cId="1828078409" sldId="2141410962"/>
            <ac:spMk id="2" creationId="{C6C40CAC-0F65-8B7E-A14E-D0DCF5D2A969}"/>
          </ac:spMkLst>
        </pc:spChg>
        <pc:spChg chg="del">
          <ac:chgData name="Wilson, Benjamin" userId="5e565093-9b03-48e6-8226-93d7b7cd3493" providerId="ADAL" clId="{53FF904F-3F5D-4AC0-AD5C-4276B4F956CF}" dt="2022-12-18T18:52:11.026" v="191" actId="478"/>
          <ac:spMkLst>
            <pc:docMk/>
            <pc:sldMk cId="1828078409" sldId="2141410962"/>
            <ac:spMk id="3" creationId="{91518584-661D-98AC-A311-5A82433160E1}"/>
          </ac:spMkLst>
        </pc:spChg>
        <pc:spChg chg="mod">
          <ac:chgData name="Wilson, Benjamin" userId="5e565093-9b03-48e6-8226-93d7b7cd3493" providerId="ADAL" clId="{53FF904F-3F5D-4AC0-AD5C-4276B4F956CF}" dt="2022-12-18T18:55:28.223" v="288" actId="20577"/>
          <ac:spMkLst>
            <pc:docMk/>
            <pc:sldMk cId="1828078409" sldId="2141410962"/>
            <ac:spMk id="4" creationId="{2C6145CE-3C7F-3704-D7D3-EE51FE312C71}"/>
          </ac:spMkLst>
        </pc:spChg>
        <pc:spChg chg="del">
          <ac:chgData name="Wilson, Benjamin" userId="5e565093-9b03-48e6-8226-93d7b7cd3493" providerId="ADAL" clId="{53FF904F-3F5D-4AC0-AD5C-4276B4F956CF}" dt="2022-12-18T18:53:17.392" v="230" actId="478"/>
          <ac:spMkLst>
            <pc:docMk/>
            <pc:sldMk cId="1828078409" sldId="2141410962"/>
            <ac:spMk id="5" creationId="{57F001D2-F550-E63E-1720-F1BEDB73D2DE}"/>
          </ac:spMkLst>
        </pc:spChg>
        <pc:spChg chg="add 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7" creationId="{EF904E2B-5F9A-92A8-A5CE-D7409EAB7F6C}"/>
          </ac:spMkLst>
        </pc:spChg>
        <pc:spChg chg="mod">
          <ac:chgData name="Wilson, Benjamin" userId="5e565093-9b03-48e6-8226-93d7b7cd3493" providerId="ADAL" clId="{53FF904F-3F5D-4AC0-AD5C-4276B4F956CF}" dt="2022-12-18T19:21:56.939" v="1800" actId="20577"/>
          <ac:spMkLst>
            <pc:docMk/>
            <pc:sldMk cId="1828078409" sldId="2141410962"/>
            <ac:spMk id="9" creationId="{851A5DA7-5FD1-98F2-E078-A95D27415FF5}"/>
          </ac:spMkLst>
        </pc:spChg>
        <pc:spChg chg="mod">
          <ac:chgData name="Wilson, Benjamin" userId="5e565093-9b03-48e6-8226-93d7b7cd3493" providerId="ADAL" clId="{53FF904F-3F5D-4AC0-AD5C-4276B4F956CF}" dt="2022-12-18T19:22:12.019" v="1821" actId="20577"/>
          <ac:spMkLst>
            <pc:docMk/>
            <pc:sldMk cId="1828078409" sldId="2141410962"/>
            <ac:spMk id="12" creationId="{92A783DD-2DF0-0A75-8A47-A55C4AA27B8F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15" creationId="{BFD03A95-E407-BFE3-41E8-C8F603B4FD0F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16" creationId="{B8BF2578-C262-FD07-9CB6-C0B04FBD9069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17" creationId="{D995DAB6-7797-2C41-36AF-25BB384B9D17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18" creationId="{35809EB7-F2FF-C921-FBB3-4D669E7E8DDA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19" creationId="{A695A9B1-A93F-389F-0401-FCE95D277FA0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0" creationId="{46FA2B5C-E7BB-1710-B1F9-F16D1A23D9F9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1" creationId="{A64A00F6-BC17-E18D-86B4-B3FDA48C8C40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2" creationId="{92426D79-E2CA-8E92-C409-63ECB4474B7B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3" creationId="{00EF8038-482B-75E2-A0C4-3DCC8907A748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4" creationId="{37B167BB-8943-5C4C-DBD8-1D576197176A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5" creationId="{F16E01A3-7DFA-F692-5618-C88990470FF8}"/>
          </ac:spMkLst>
        </pc:spChg>
        <pc:spChg chg="mod">
          <ac:chgData name="Wilson, Benjamin" userId="5e565093-9b03-48e6-8226-93d7b7cd3493" providerId="ADAL" clId="{53FF904F-3F5D-4AC0-AD5C-4276B4F956CF}" dt="2022-12-18T18:52:12.930" v="211"/>
          <ac:spMkLst>
            <pc:docMk/>
            <pc:sldMk cId="1828078409" sldId="2141410962"/>
            <ac:spMk id="26" creationId="{64B9C746-D4D6-1787-3CF3-A07421BF5D1B}"/>
          </ac:spMkLst>
        </pc:spChg>
        <pc:spChg chg="add mod">
          <ac:chgData name="Wilson, Benjamin" userId="5e565093-9b03-48e6-8226-93d7b7cd3493" providerId="ADAL" clId="{53FF904F-3F5D-4AC0-AD5C-4276B4F956CF}" dt="2022-12-18T18:52:28.746" v="213" actId="207"/>
          <ac:spMkLst>
            <pc:docMk/>
            <pc:sldMk cId="1828078409" sldId="2141410962"/>
            <ac:spMk id="27" creationId="{9AB9800E-C68B-C995-4FC1-25BB33658AD5}"/>
          </ac:spMkLst>
        </pc:spChg>
        <pc:spChg chg="add mod">
          <ac:chgData name="Wilson, Benjamin" userId="5e565093-9b03-48e6-8226-93d7b7cd3493" providerId="ADAL" clId="{53FF904F-3F5D-4AC0-AD5C-4276B4F956CF}" dt="2022-12-18T18:57:44.053" v="512" actId="20577"/>
          <ac:spMkLst>
            <pc:docMk/>
            <pc:sldMk cId="1828078409" sldId="2141410962"/>
            <ac:spMk id="28" creationId="{E93753FD-7F47-57FB-4282-2DD3A6732B3E}"/>
          </ac:spMkLst>
        </pc:spChg>
        <pc:spChg chg="mod">
          <ac:chgData name="Wilson, Benjamin" userId="5e565093-9b03-48e6-8226-93d7b7cd3493" providerId="ADAL" clId="{53FF904F-3F5D-4AC0-AD5C-4276B4F956CF}" dt="2022-12-18T18:53:32.737" v="235" actId="207"/>
          <ac:spMkLst>
            <pc:docMk/>
            <pc:sldMk cId="1828078409" sldId="2141410962"/>
            <ac:spMk id="32" creationId="{D854E8C9-E807-6223-AD66-058C3D0DFB4C}"/>
          </ac:spMkLst>
        </pc:spChg>
        <pc:spChg chg="mod">
          <ac:chgData name="Wilson, Benjamin" userId="5e565093-9b03-48e6-8226-93d7b7cd3493" providerId="ADAL" clId="{53FF904F-3F5D-4AC0-AD5C-4276B4F956CF}" dt="2022-12-18T18:53:30.080" v="234" actId="208"/>
          <ac:spMkLst>
            <pc:docMk/>
            <pc:sldMk cId="1828078409" sldId="2141410962"/>
            <ac:spMk id="33" creationId="{D1E91DDC-0336-EDAF-8045-3841287FBFC1}"/>
          </ac:spMkLst>
        </pc:spChg>
        <pc:spChg chg="add del mod">
          <ac:chgData name="Wilson, Benjamin" userId="5e565093-9b03-48e6-8226-93d7b7cd3493" providerId="ADAL" clId="{53FF904F-3F5D-4AC0-AD5C-4276B4F956CF}" dt="2022-12-18T18:52:53.917" v="222" actId="478"/>
          <ac:spMkLst>
            <pc:docMk/>
            <pc:sldMk cId="1828078409" sldId="2141410962"/>
            <ac:spMk id="34" creationId="{FB754448-79BD-A973-975A-9F35DAD89DDC}"/>
          </ac:spMkLst>
        </pc:spChg>
        <pc:spChg chg="add mod">
          <ac:chgData name="Wilson, Benjamin" userId="5e565093-9b03-48e6-8226-93d7b7cd3493" providerId="ADAL" clId="{53FF904F-3F5D-4AC0-AD5C-4276B4F956CF}" dt="2022-12-18T19:21:53.852" v="1746" actId="948"/>
          <ac:spMkLst>
            <pc:docMk/>
            <pc:sldMk cId="1828078409" sldId="2141410962"/>
            <ac:spMk id="39" creationId="{D40F40C0-6CD0-8AFF-28E2-3EB7978F8A67}"/>
          </ac:spMkLst>
        </pc:spChg>
        <pc:spChg chg="add del mod modVis">
          <ac:chgData name="Wilson, Benjamin" userId="5e565093-9b03-48e6-8226-93d7b7cd3493" providerId="ADAL" clId="{53FF904F-3F5D-4AC0-AD5C-4276B4F956CF}" dt="2022-12-18T19:21:53.876" v="1787"/>
          <ac:spMkLst>
            <pc:docMk/>
            <pc:sldMk cId="1828078409" sldId="2141410962"/>
            <ac:spMk id="40" creationId="{D1E410FF-0AFF-93AD-C04E-60BC208D2A69}"/>
          </ac:spMkLst>
        </pc:spChg>
        <pc:grpChg chg="add mod">
          <ac:chgData name="Wilson, Benjamin" userId="5e565093-9b03-48e6-8226-93d7b7cd3493" providerId="ADAL" clId="{53FF904F-3F5D-4AC0-AD5C-4276B4F956CF}" dt="2022-12-18T18:52:12.930" v="211"/>
          <ac:grpSpMkLst>
            <pc:docMk/>
            <pc:sldMk cId="1828078409" sldId="2141410962"/>
            <ac:grpSpMk id="8" creationId="{DDAF540F-682B-E952-37B7-CD85483FE90D}"/>
          </ac:grpSpMkLst>
        </pc:grpChg>
        <pc:grpChg chg="add mod">
          <ac:chgData name="Wilson, Benjamin" userId="5e565093-9b03-48e6-8226-93d7b7cd3493" providerId="ADAL" clId="{53FF904F-3F5D-4AC0-AD5C-4276B4F956CF}" dt="2022-12-18T18:52:12.930" v="211"/>
          <ac:grpSpMkLst>
            <pc:docMk/>
            <pc:sldMk cId="1828078409" sldId="2141410962"/>
            <ac:grpSpMk id="11" creationId="{E589339A-39BF-77E2-E7B9-7B60F724F9BB}"/>
          </ac:grpSpMkLst>
        </pc:grpChg>
        <pc:grpChg chg="add mod">
          <ac:chgData name="Wilson, Benjamin" userId="5e565093-9b03-48e6-8226-93d7b7cd3493" providerId="ADAL" clId="{53FF904F-3F5D-4AC0-AD5C-4276B4F956CF}" dt="2022-12-18T18:52:12.930" v="211"/>
          <ac:grpSpMkLst>
            <pc:docMk/>
            <pc:sldMk cId="1828078409" sldId="2141410962"/>
            <ac:grpSpMk id="14" creationId="{198F6A65-F821-B459-837F-2E6B055F921C}"/>
          </ac:grpSpMkLst>
        </pc:grpChg>
        <pc:grpChg chg="add mod">
          <ac:chgData name="Wilson, Benjamin" userId="5e565093-9b03-48e6-8226-93d7b7cd3493" providerId="ADAL" clId="{53FF904F-3F5D-4AC0-AD5C-4276B4F956CF}" dt="2022-12-18T18:52:12.930" v="211"/>
          <ac:grpSpMkLst>
            <pc:docMk/>
            <pc:sldMk cId="1828078409" sldId="2141410962"/>
            <ac:grpSpMk id="29" creationId="{AB5F5ADE-E96D-B32B-835F-056012D36A1C}"/>
          </ac:grpSpMkLst>
        </pc:grpChg>
        <pc:grpChg chg="mod">
          <ac:chgData name="Wilson, Benjamin" userId="5e565093-9b03-48e6-8226-93d7b7cd3493" providerId="ADAL" clId="{53FF904F-3F5D-4AC0-AD5C-4276B4F956CF}" dt="2022-12-18T18:52:12.930" v="211"/>
          <ac:grpSpMkLst>
            <pc:docMk/>
            <pc:sldMk cId="1828078409" sldId="2141410962"/>
            <ac:grpSpMk id="31" creationId="{CDCE211A-CE95-C4A2-8BF3-6F3F62D7217E}"/>
          </ac:grpSpMkLst>
        </pc:grpChg>
        <pc:graphicFrameChg chg="add mod ord modVis replST">
          <ac:chgData name="Wilson, Benjamin" userId="5e565093-9b03-48e6-8226-93d7b7cd3493" providerId="ADAL" clId="{53FF904F-3F5D-4AC0-AD5C-4276B4F956CF}" dt="2022-12-18T19:21:53.883" v="1789"/>
          <ac:graphicFrameMkLst>
            <pc:docMk/>
            <pc:sldMk cId="1828078409" sldId="2141410962"/>
            <ac:graphicFrameMk id="6" creationId="{9D839CE3-4017-F5DA-CAE5-78AA612B2C76}"/>
          </ac:graphicFrameMkLst>
        </pc:graphicFrameChg>
        <pc:picChg chg="add mod">
          <ac:chgData name="Wilson, Benjamin" userId="5e565093-9b03-48e6-8226-93d7b7cd3493" providerId="ADAL" clId="{53FF904F-3F5D-4AC0-AD5C-4276B4F956CF}" dt="2022-12-18T18:53:01.355" v="224" actId="14100"/>
          <ac:picMkLst>
            <pc:docMk/>
            <pc:sldMk cId="1828078409" sldId="2141410962"/>
            <ac:picMk id="35" creationId="{B8E4660B-C31F-E82B-75D8-5C93DBE2ECCC}"/>
          </ac:picMkLst>
        </pc:picChg>
        <pc:picChg chg="add mod">
          <ac:chgData name="Wilson, Benjamin" userId="5e565093-9b03-48e6-8226-93d7b7cd3493" providerId="ADAL" clId="{53FF904F-3F5D-4AC0-AD5C-4276B4F956CF}" dt="2022-12-18T18:53:53.136" v="240" actId="1076"/>
          <ac:picMkLst>
            <pc:docMk/>
            <pc:sldMk cId="1828078409" sldId="2141410962"/>
            <ac:picMk id="36" creationId="{4CD49DD2-DA20-CE34-E2A7-C99C28D88581}"/>
          </ac:picMkLst>
        </pc:picChg>
        <pc:picChg chg="add mod">
          <ac:chgData name="Wilson, Benjamin" userId="5e565093-9b03-48e6-8226-93d7b7cd3493" providerId="ADAL" clId="{53FF904F-3F5D-4AC0-AD5C-4276B4F956CF}" dt="2022-12-18T18:53:45.903" v="237" actId="1076"/>
          <ac:picMkLst>
            <pc:docMk/>
            <pc:sldMk cId="1828078409" sldId="2141410962"/>
            <ac:picMk id="37" creationId="{1D4D34AA-9180-7F14-4902-D9940C544073}"/>
          </ac:picMkLst>
        </pc:picChg>
        <pc:picChg chg="add mod">
          <ac:chgData name="Wilson, Benjamin" userId="5e565093-9b03-48e6-8226-93d7b7cd3493" providerId="ADAL" clId="{53FF904F-3F5D-4AC0-AD5C-4276B4F956CF}" dt="2022-12-18T18:53:43.318" v="236" actId="1076"/>
          <ac:picMkLst>
            <pc:docMk/>
            <pc:sldMk cId="1828078409" sldId="2141410962"/>
            <ac:picMk id="38" creationId="{3A0E6270-0746-D83D-A5CE-B1E26981CC65}"/>
          </ac:picMkLst>
        </pc:picChg>
        <pc:cxnChg chg="mod">
          <ac:chgData name="Wilson, Benjamin" userId="5e565093-9b03-48e6-8226-93d7b7cd3493" providerId="ADAL" clId="{53FF904F-3F5D-4AC0-AD5C-4276B4F956CF}" dt="2022-12-18T18:52:12.930" v="211"/>
          <ac:cxnSpMkLst>
            <pc:docMk/>
            <pc:sldMk cId="1828078409" sldId="2141410962"/>
            <ac:cxnSpMk id="10" creationId="{339623A9-E1AF-C31F-01BA-8D59853A59BC}"/>
          </ac:cxnSpMkLst>
        </pc:cxnChg>
        <pc:cxnChg chg="mod">
          <ac:chgData name="Wilson, Benjamin" userId="5e565093-9b03-48e6-8226-93d7b7cd3493" providerId="ADAL" clId="{53FF904F-3F5D-4AC0-AD5C-4276B4F956CF}" dt="2022-12-18T18:52:12.930" v="211"/>
          <ac:cxnSpMkLst>
            <pc:docMk/>
            <pc:sldMk cId="1828078409" sldId="2141410962"/>
            <ac:cxnSpMk id="13" creationId="{86985906-F313-0E3B-F110-C7CC8BC3278A}"/>
          </ac:cxnSpMkLst>
        </pc:cxnChg>
        <pc:cxnChg chg="mod">
          <ac:chgData name="Wilson, Benjamin" userId="5e565093-9b03-48e6-8226-93d7b7cd3493" providerId="ADAL" clId="{53FF904F-3F5D-4AC0-AD5C-4276B4F956CF}" dt="2022-12-18T18:52:12.930" v="211"/>
          <ac:cxnSpMkLst>
            <pc:docMk/>
            <pc:sldMk cId="1828078409" sldId="2141410962"/>
            <ac:cxnSpMk id="30" creationId="{983D9638-217C-DFAA-4EE6-CF44E3B57DAD}"/>
          </ac:cxnSpMkLst>
        </pc:cxnChg>
      </pc:sldChg>
      <pc:sldChg chg="addSp delSp modSp add mod ord">
        <pc:chgData name="Wilson, Benjamin" userId="5e565093-9b03-48e6-8226-93d7b7cd3493" providerId="ADAL" clId="{53FF904F-3F5D-4AC0-AD5C-4276B4F956CF}" dt="2022-12-18T19:17:08.969" v="1611" actId="20577"/>
        <pc:sldMkLst>
          <pc:docMk/>
          <pc:sldMk cId="2599427376" sldId="2141410963"/>
        </pc:sldMkLst>
        <pc:spChg chg="add mod">
          <ac:chgData name="Wilson, Benjamin" userId="5e565093-9b03-48e6-8226-93d7b7cd3493" providerId="ADAL" clId="{53FF904F-3F5D-4AC0-AD5C-4276B4F956CF}" dt="2022-12-18T19:09:51.103" v="1249" actId="1035"/>
          <ac:spMkLst>
            <pc:docMk/>
            <pc:sldMk cId="2599427376" sldId="2141410963"/>
            <ac:spMk id="2" creationId="{8AA092DA-9F70-A7AE-5338-ED48438AF94B}"/>
          </ac:spMkLst>
        </pc:spChg>
        <pc:spChg chg="mod">
          <ac:chgData name="Wilson, Benjamin" userId="5e565093-9b03-48e6-8226-93d7b7cd3493" providerId="ADAL" clId="{53FF904F-3F5D-4AC0-AD5C-4276B4F956CF}" dt="2022-12-18T19:02:34.720" v="634" actId="948"/>
          <ac:spMkLst>
            <pc:docMk/>
            <pc:sldMk cId="2599427376" sldId="2141410963"/>
            <ac:spMk id="3" creationId="{305F9436-CCF7-5AD1-7B91-8AFA3EBE05FE}"/>
          </ac:spMkLst>
        </pc:spChg>
        <pc:spChg chg="add del mod">
          <ac:chgData name="Wilson, Benjamin" userId="5e565093-9b03-48e6-8226-93d7b7cd3493" providerId="ADAL" clId="{53FF904F-3F5D-4AC0-AD5C-4276B4F956CF}" dt="2022-12-18T19:13:16.021" v="1440" actId="478"/>
          <ac:spMkLst>
            <pc:docMk/>
            <pc:sldMk cId="2599427376" sldId="2141410963"/>
            <ac:spMk id="5" creationId="{FFD0E002-797F-5334-C3B5-A1EAD2015470}"/>
          </ac:spMkLst>
        </pc:spChg>
        <pc:spChg chg="add mod">
          <ac:chgData name="Wilson, Benjamin" userId="5e565093-9b03-48e6-8226-93d7b7cd3493" providerId="ADAL" clId="{53FF904F-3F5D-4AC0-AD5C-4276B4F956CF}" dt="2022-12-18T19:09:51.103" v="1249" actId="1035"/>
          <ac:spMkLst>
            <pc:docMk/>
            <pc:sldMk cId="2599427376" sldId="2141410963"/>
            <ac:spMk id="7" creationId="{5173BAF2-60CB-F73C-9CBC-FD1ADF67EF3C}"/>
          </ac:spMkLst>
        </pc:spChg>
        <pc:spChg chg="add del mod">
          <ac:chgData name="Wilson, Benjamin" userId="5e565093-9b03-48e6-8226-93d7b7cd3493" providerId="ADAL" clId="{53FF904F-3F5D-4AC0-AD5C-4276B4F956CF}" dt="2022-12-18T19:13:10.036" v="1437" actId="478"/>
          <ac:spMkLst>
            <pc:docMk/>
            <pc:sldMk cId="2599427376" sldId="2141410963"/>
            <ac:spMk id="8" creationId="{C2D909BE-2525-8362-4C23-33D89501498A}"/>
          </ac:spMkLst>
        </pc:spChg>
        <pc:spChg chg="del">
          <ac:chgData name="Wilson, Benjamin" userId="5e565093-9b03-48e6-8226-93d7b7cd3493" providerId="ADAL" clId="{53FF904F-3F5D-4AC0-AD5C-4276B4F956CF}" dt="2022-12-18T19:00:29.038" v="542" actId="478"/>
          <ac:spMkLst>
            <pc:docMk/>
            <pc:sldMk cId="2599427376" sldId="2141410963"/>
            <ac:spMk id="9" creationId="{6A2B2EF1-648A-EB65-2108-1C9F0DC985FA}"/>
          </ac:spMkLst>
        </pc:spChg>
        <pc:spChg chg="add del mod">
          <ac:chgData name="Wilson, Benjamin" userId="5e565093-9b03-48e6-8226-93d7b7cd3493" providerId="ADAL" clId="{53FF904F-3F5D-4AC0-AD5C-4276B4F956CF}" dt="2022-12-18T19:13:14.038" v="1439" actId="478"/>
          <ac:spMkLst>
            <pc:docMk/>
            <pc:sldMk cId="2599427376" sldId="2141410963"/>
            <ac:spMk id="10" creationId="{3E985917-7D9B-2B81-CD26-51DC008D2F17}"/>
          </ac:spMkLst>
        </pc:spChg>
        <pc:spChg chg="add del mod">
          <ac:chgData name="Wilson, Benjamin" userId="5e565093-9b03-48e6-8226-93d7b7cd3493" providerId="ADAL" clId="{53FF904F-3F5D-4AC0-AD5C-4276B4F956CF}" dt="2022-12-18T19:13:12.565" v="1438" actId="478"/>
          <ac:spMkLst>
            <pc:docMk/>
            <pc:sldMk cId="2599427376" sldId="2141410963"/>
            <ac:spMk id="11" creationId="{8DDA32C8-9221-4570-4749-8EAF1064C006}"/>
          </ac:spMkLst>
        </pc:spChg>
        <pc:spChg chg="add mod">
          <ac:chgData name="Wilson, Benjamin" userId="5e565093-9b03-48e6-8226-93d7b7cd3493" providerId="ADAL" clId="{53FF904F-3F5D-4AC0-AD5C-4276B4F956CF}" dt="2022-12-18T19:09:51.103" v="1249" actId="1035"/>
          <ac:spMkLst>
            <pc:docMk/>
            <pc:sldMk cId="2599427376" sldId="2141410963"/>
            <ac:spMk id="12" creationId="{B4AEB5E2-F731-A6C5-2686-46EE4B224780}"/>
          </ac:spMkLst>
        </pc:spChg>
        <pc:spChg chg="add mod">
          <ac:chgData name="Wilson, Benjamin" userId="5e565093-9b03-48e6-8226-93d7b7cd3493" providerId="ADAL" clId="{53FF904F-3F5D-4AC0-AD5C-4276B4F956CF}" dt="2022-12-18T19:14:29.195" v="1477" actId="20577"/>
          <ac:spMkLst>
            <pc:docMk/>
            <pc:sldMk cId="2599427376" sldId="2141410963"/>
            <ac:spMk id="13" creationId="{234D85C9-6588-FCC7-EC3F-DA3CDF7BEF28}"/>
          </ac:spMkLst>
        </pc:spChg>
        <pc:spChg chg="add mod">
          <ac:chgData name="Wilson, Benjamin" userId="5e565093-9b03-48e6-8226-93d7b7cd3493" providerId="ADAL" clId="{53FF904F-3F5D-4AC0-AD5C-4276B4F956CF}" dt="2022-12-18T19:14:11.894" v="1473" actId="1076"/>
          <ac:spMkLst>
            <pc:docMk/>
            <pc:sldMk cId="2599427376" sldId="2141410963"/>
            <ac:spMk id="14" creationId="{4AF17F26-85E1-0D8A-4AA0-594C19A050CE}"/>
          </ac:spMkLst>
        </pc:spChg>
        <pc:spChg chg="add mod">
          <ac:chgData name="Wilson, Benjamin" userId="5e565093-9b03-48e6-8226-93d7b7cd3493" providerId="ADAL" clId="{53FF904F-3F5D-4AC0-AD5C-4276B4F956CF}" dt="2022-12-18T19:14:11.894" v="1473" actId="1076"/>
          <ac:spMkLst>
            <pc:docMk/>
            <pc:sldMk cId="2599427376" sldId="2141410963"/>
            <ac:spMk id="15" creationId="{6652205B-87AE-1F25-6734-C448709DDE5C}"/>
          </ac:spMkLst>
        </pc:spChg>
        <pc:spChg chg="add mod">
          <ac:chgData name="Wilson, Benjamin" userId="5e565093-9b03-48e6-8226-93d7b7cd3493" providerId="ADAL" clId="{53FF904F-3F5D-4AC0-AD5C-4276B4F956CF}" dt="2022-12-18T19:14:11.894" v="1473" actId="1076"/>
          <ac:spMkLst>
            <pc:docMk/>
            <pc:sldMk cId="2599427376" sldId="2141410963"/>
            <ac:spMk id="16" creationId="{FAA3E251-610D-2AAE-0EB8-59568D7F6109}"/>
          </ac:spMkLst>
        </pc:spChg>
        <pc:spChg chg="add mod">
          <ac:chgData name="Wilson, Benjamin" userId="5e565093-9b03-48e6-8226-93d7b7cd3493" providerId="ADAL" clId="{53FF904F-3F5D-4AC0-AD5C-4276B4F956CF}" dt="2022-12-18T19:14:33.292" v="1481" actId="20577"/>
          <ac:spMkLst>
            <pc:docMk/>
            <pc:sldMk cId="2599427376" sldId="2141410963"/>
            <ac:spMk id="17" creationId="{0307554B-C365-5880-F118-460F5448CD44}"/>
          </ac:spMkLst>
        </pc:spChg>
        <pc:spChg chg="add del mod modVis">
          <ac:chgData name="Wilson, Benjamin" userId="5e565093-9b03-48e6-8226-93d7b7cd3493" providerId="ADAL" clId="{53FF904F-3F5D-4AC0-AD5C-4276B4F956CF}" dt="2022-12-18T19:02:32.723" v="610"/>
          <ac:spMkLst>
            <pc:docMk/>
            <pc:sldMk cId="2599427376" sldId="2141410963"/>
            <ac:spMk id="23" creationId="{602DF5C8-CFC0-5A05-F443-A33B686D28CA}"/>
          </ac:spMkLst>
        </pc:spChg>
        <pc:spChg chg="add del mod modVis">
          <ac:chgData name="Wilson, Benjamin" userId="5e565093-9b03-48e6-8226-93d7b7cd3493" providerId="ADAL" clId="{53FF904F-3F5D-4AC0-AD5C-4276B4F956CF}" dt="2022-12-18T19:02:34.742" v="675"/>
          <ac:spMkLst>
            <pc:docMk/>
            <pc:sldMk cId="2599427376" sldId="2141410963"/>
            <ac:spMk id="25" creationId="{4DB61EA4-E6CF-E780-2275-BBB5758EE0CE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29" creationId="{93DC011C-AA9A-12C0-BA59-B08305FDC548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0" creationId="{FF47135F-4AA3-DEDD-B18E-3F7DC54365F1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1" creationId="{97D3877F-A2BB-B0B6-EBD8-337344F01E2F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2" creationId="{C2722FDA-A90E-46F1-03BB-C336D3C77F1A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3" creationId="{36466BAD-381D-1464-D9D4-749119FAD2C9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4" creationId="{E0CA6B1B-27CF-CFAE-6C78-E2E9138F7B71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5" creationId="{00A1CBDD-A93C-FBDE-7C97-D6F23618BD00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6" creationId="{30B70760-405F-5D66-E76F-C6970B5FB918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7" creationId="{B440CF17-3821-32A4-35A1-724AF68ABB3E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8" creationId="{D101525A-7683-8F7B-359C-975E592AF0CC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39" creationId="{EDB266D6-1C43-F172-133F-EB72CC4B8804}"/>
          </ac:spMkLst>
        </pc:spChg>
        <pc:spChg chg="add del mod">
          <ac:chgData name="Wilson, Benjamin" userId="5e565093-9b03-48e6-8226-93d7b7cd3493" providerId="ADAL" clId="{53FF904F-3F5D-4AC0-AD5C-4276B4F956CF}" dt="2022-12-18T19:11:19.373" v="1303" actId="478"/>
          <ac:spMkLst>
            <pc:docMk/>
            <pc:sldMk cId="2599427376" sldId="2141410963"/>
            <ac:spMk id="40" creationId="{EED0CA55-A6F9-437B-509E-3D57EEDAA133}"/>
          </ac:spMkLst>
        </pc:spChg>
        <pc:spChg chg="add del mod">
          <ac:chgData name="Wilson, Benjamin" userId="5e565093-9b03-48e6-8226-93d7b7cd3493" providerId="ADAL" clId="{53FF904F-3F5D-4AC0-AD5C-4276B4F956CF}" dt="2022-12-18T19:11:53.269" v="1306" actId="478"/>
          <ac:spMkLst>
            <pc:docMk/>
            <pc:sldMk cId="2599427376" sldId="2141410963"/>
            <ac:spMk id="49" creationId="{7FA1244B-2D3D-BC3A-466F-24670D3FF8D7}"/>
          </ac:spMkLst>
        </pc:spChg>
        <pc:spChg chg="add del mod">
          <ac:chgData name="Wilson, Benjamin" userId="5e565093-9b03-48e6-8226-93d7b7cd3493" providerId="ADAL" clId="{53FF904F-3F5D-4AC0-AD5C-4276B4F956CF}" dt="2022-12-18T19:11:53.269" v="1306" actId="478"/>
          <ac:spMkLst>
            <pc:docMk/>
            <pc:sldMk cId="2599427376" sldId="2141410963"/>
            <ac:spMk id="50" creationId="{C05E5D0B-F9E1-DFEC-C491-E44DB7F2CA85}"/>
          </ac:spMkLst>
        </pc:spChg>
        <pc:spChg chg="add del mod">
          <ac:chgData name="Wilson, Benjamin" userId="5e565093-9b03-48e6-8226-93d7b7cd3493" providerId="ADAL" clId="{53FF904F-3F5D-4AC0-AD5C-4276B4F956CF}" dt="2022-12-18T19:11:53.269" v="1306" actId="478"/>
          <ac:spMkLst>
            <pc:docMk/>
            <pc:sldMk cId="2599427376" sldId="2141410963"/>
            <ac:spMk id="51" creationId="{44A171CD-5AF7-EADD-6DDD-8DA1F16DBE6D}"/>
          </ac:spMkLst>
        </pc:spChg>
        <pc:spChg chg="add del mod">
          <ac:chgData name="Wilson, Benjamin" userId="5e565093-9b03-48e6-8226-93d7b7cd3493" providerId="ADAL" clId="{53FF904F-3F5D-4AC0-AD5C-4276B4F956CF}" dt="2022-12-18T19:11:53.269" v="1306" actId="478"/>
          <ac:spMkLst>
            <pc:docMk/>
            <pc:sldMk cId="2599427376" sldId="2141410963"/>
            <ac:spMk id="52" creationId="{00596D69-6A2E-CC45-A41F-47A37194900F}"/>
          </ac:spMkLst>
        </pc:spChg>
        <pc:spChg chg="add del mod">
          <ac:chgData name="Wilson, Benjamin" userId="5e565093-9b03-48e6-8226-93d7b7cd3493" providerId="ADAL" clId="{53FF904F-3F5D-4AC0-AD5C-4276B4F956CF}" dt="2022-12-18T19:11:53.269" v="1306" actId="478"/>
          <ac:spMkLst>
            <pc:docMk/>
            <pc:sldMk cId="2599427376" sldId="2141410963"/>
            <ac:spMk id="53" creationId="{1C5AB24B-5194-6572-A970-B77D1DFF5BD2}"/>
          </ac:spMkLst>
        </pc:spChg>
        <pc:spChg chg="add mod">
          <ac:chgData name="Wilson, Benjamin" userId="5e565093-9b03-48e6-8226-93d7b7cd3493" providerId="ADAL" clId="{53FF904F-3F5D-4AC0-AD5C-4276B4F956CF}" dt="2022-12-18T19:15:14.410" v="1516" actId="5793"/>
          <ac:spMkLst>
            <pc:docMk/>
            <pc:sldMk cId="2599427376" sldId="2141410963"/>
            <ac:spMk id="54" creationId="{30E3F8BD-3CE1-8F9A-4D2E-1F58B55A8EC6}"/>
          </ac:spMkLst>
        </pc:spChg>
        <pc:spChg chg="add del mod">
          <ac:chgData name="Wilson, Benjamin" userId="5e565093-9b03-48e6-8226-93d7b7cd3493" providerId="ADAL" clId="{53FF904F-3F5D-4AC0-AD5C-4276B4F956CF}" dt="2022-12-18T19:13:59.286" v="1470" actId="478"/>
          <ac:spMkLst>
            <pc:docMk/>
            <pc:sldMk cId="2599427376" sldId="2141410963"/>
            <ac:spMk id="55" creationId="{9B0768CC-1287-9515-3BFC-1B5B44FBA1A6}"/>
          </ac:spMkLst>
        </pc:spChg>
        <pc:spChg chg="add mod">
          <ac:chgData name="Wilson, Benjamin" userId="5e565093-9b03-48e6-8226-93d7b7cd3493" providerId="ADAL" clId="{53FF904F-3F5D-4AC0-AD5C-4276B4F956CF}" dt="2022-12-18T19:14:18.268" v="1474" actId="1076"/>
          <ac:spMkLst>
            <pc:docMk/>
            <pc:sldMk cId="2599427376" sldId="2141410963"/>
            <ac:spMk id="56" creationId="{C9EE8964-54BD-2370-0424-0A4E94A8C902}"/>
          </ac:spMkLst>
        </pc:spChg>
        <pc:spChg chg="add del mod">
          <ac:chgData name="Wilson, Benjamin" userId="5e565093-9b03-48e6-8226-93d7b7cd3493" providerId="ADAL" clId="{53FF904F-3F5D-4AC0-AD5C-4276B4F956CF}" dt="2022-12-18T19:14:00.801" v="1471" actId="478"/>
          <ac:spMkLst>
            <pc:docMk/>
            <pc:sldMk cId="2599427376" sldId="2141410963"/>
            <ac:spMk id="57" creationId="{AFCD7EB6-72B4-F86A-5D9E-D4D269996AA8}"/>
          </ac:spMkLst>
        </pc:spChg>
        <pc:spChg chg="add del mod">
          <ac:chgData name="Wilson, Benjamin" userId="5e565093-9b03-48e6-8226-93d7b7cd3493" providerId="ADAL" clId="{53FF904F-3F5D-4AC0-AD5C-4276B4F956CF}" dt="2022-12-18T19:13:57.277" v="1469" actId="478"/>
          <ac:spMkLst>
            <pc:docMk/>
            <pc:sldMk cId="2599427376" sldId="2141410963"/>
            <ac:spMk id="58" creationId="{94F787AB-AA26-7164-16EE-850838FD58C2}"/>
          </ac:spMkLst>
        </pc:spChg>
        <pc:spChg chg="add del mod">
          <ac:chgData name="Wilson, Benjamin" userId="5e565093-9b03-48e6-8226-93d7b7cd3493" providerId="ADAL" clId="{53FF904F-3F5D-4AC0-AD5C-4276B4F956CF}" dt="2022-12-18T19:14:02.917" v="1472" actId="478"/>
          <ac:spMkLst>
            <pc:docMk/>
            <pc:sldMk cId="2599427376" sldId="2141410963"/>
            <ac:spMk id="59" creationId="{EF9FD238-B026-7C4D-C385-91E563D8F8DA}"/>
          </ac:spMkLst>
        </pc:spChg>
        <pc:spChg chg="add mod">
          <ac:chgData name="Wilson, Benjamin" userId="5e565093-9b03-48e6-8226-93d7b7cd3493" providerId="ADAL" clId="{53FF904F-3F5D-4AC0-AD5C-4276B4F956CF}" dt="2022-12-18T19:16:33.466" v="1583" actId="20577"/>
          <ac:spMkLst>
            <pc:docMk/>
            <pc:sldMk cId="2599427376" sldId="2141410963"/>
            <ac:spMk id="60" creationId="{1D7C0EFA-1D82-2B3A-413B-D703E780416A}"/>
          </ac:spMkLst>
        </pc:spChg>
        <pc:spChg chg="add mod">
          <ac:chgData name="Wilson, Benjamin" userId="5e565093-9b03-48e6-8226-93d7b7cd3493" providerId="ADAL" clId="{53FF904F-3F5D-4AC0-AD5C-4276B4F956CF}" dt="2022-12-18T19:14:35.470" v="1482" actId="20577"/>
          <ac:spMkLst>
            <pc:docMk/>
            <pc:sldMk cId="2599427376" sldId="2141410963"/>
            <ac:spMk id="61" creationId="{ECC68AC0-7CE4-8AEC-4239-BC0B3A2AA1EB}"/>
          </ac:spMkLst>
        </pc:spChg>
        <pc:spChg chg="add mod">
          <ac:chgData name="Wilson, Benjamin" userId="5e565093-9b03-48e6-8226-93d7b7cd3493" providerId="ADAL" clId="{53FF904F-3F5D-4AC0-AD5C-4276B4F956CF}" dt="2022-12-18T19:16:20.785" v="1572" actId="1036"/>
          <ac:spMkLst>
            <pc:docMk/>
            <pc:sldMk cId="2599427376" sldId="2141410963"/>
            <ac:spMk id="62" creationId="{D3764893-FD62-3BC0-AD31-94E1EF58E3BC}"/>
          </ac:spMkLst>
        </pc:spChg>
        <pc:spChg chg="add mod">
          <ac:chgData name="Wilson, Benjamin" userId="5e565093-9b03-48e6-8226-93d7b7cd3493" providerId="ADAL" clId="{53FF904F-3F5D-4AC0-AD5C-4276B4F956CF}" dt="2022-12-18T19:16:20.785" v="1572" actId="1036"/>
          <ac:spMkLst>
            <pc:docMk/>
            <pc:sldMk cId="2599427376" sldId="2141410963"/>
            <ac:spMk id="63" creationId="{DBDFEF89-D5CB-2505-140A-D106F54505E3}"/>
          </ac:spMkLst>
        </pc:spChg>
        <pc:spChg chg="add mod">
          <ac:chgData name="Wilson, Benjamin" userId="5e565093-9b03-48e6-8226-93d7b7cd3493" providerId="ADAL" clId="{53FF904F-3F5D-4AC0-AD5C-4276B4F956CF}" dt="2022-12-18T19:17:08.969" v="1611" actId="20577"/>
          <ac:spMkLst>
            <pc:docMk/>
            <pc:sldMk cId="2599427376" sldId="2141410963"/>
            <ac:spMk id="64" creationId="{72D9E2B3-4F61-766B-CEDF-475C4F20D0FB}"/>
          </ac:spMkLst>
        </pc:spChg>
        <pc:spChg chg="add mod">
          <ac:chgData name="Wilson, Benjamin" userId="5e565093-9b03-48e6-8226-93d7b7cd3493" providerId="ADAL" clId="{53FF904F-3F5D-4AC0-AD5C-4276B4F956CF}" dt="2022-12-18T19:16:20.785" v="1572" actId="1036"/>
          <ac:spMkLst>
            <pc:docMk/>
            <pc:sldMk cId="2599427376" sldId="2141410963"/>
            <ac:spMk id="65" creationId="{48FB98AC-4F35-8A38-9357-515D46BA6A50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19:02:34.749" v="677"/>
          <ac:graphicFrameMkLst>
            <pc:docMk/>
            <pc:sldMk cId="2599427376" sldId="2141410963"/>
            <ac:graphicFrameMk id="24" creationId="{BBE847BB-D8B0-F63A-93AF-86A12B81BB5C}"/>
          </ac:graphicFrameMkLst>
        </pc:graphicFrameChg>
        <pc:picChg chg="del">
          <ac:chgData name="Wilson, Benjamin" userId="5e565093-9b03-48e6-8226-93d7b7cd3493" providerId="ADAL" clId="{53FF904F-3F5D-4AC0-AD5C-4276B4F956CF}" dt="2022-12-18T19:00:22.219" v="541" actId="478"/>
          <ac:picMkLst>
            <pc:docMk/>
            <pc:sldMk cId="2599427376" sldId="2141410963"/>
            <ac:picMk id="6" creationId="{19E9C609-7A30-9846-0F2E-DEB80E3FFA4B}"/>
          </ac:picMkLst>
        </pc:picChg>
        <pc:picChg chg="add mod modCrop">
          <ac:chgData name="Wilson, Benjamin" userId="5e565093-9b03-48e6-8226-93d7b7cd3493" providerId="ADAL" clId="{53FF904F-3F5D-4AC0-AD5C-4276B4F956CF}" dt="2022-12-18T19:13:51.129" v="1468" actId="1076"/>
          <ac:picMkLst>
            <pc:docMk/>
            <pc:sldMk cId="2599427376" sldId="2141410963"/>
            <ac:picMk id="22" creationId="{F8F41AF1-76A1-BD15-974C-C7889447B359}"/>
          </ac:picMkLst>
        </pc:picChg>
        <pc:picChg chg="add mod modCrop">
          <ac:chgData name="Wilson, Benjamin" userId="5e565093-9b03-48e6-8226-93d7b7cd3493" providerId="ADAL" clId="{53FF904F-3F5D-4AC0-AD5C-4276B4F956CF}" dt="2022-12-18T19:13:31.430" v="1465" actId="1076"/>
          <ac:picMkLst>
            <pc:docMk/>
            <pc:sldMk cId="2599427376" sldId="2141410963"/>
            <ac:picMk id="26" creationId="{A9CE6C15-6E3D-4859-44A5-FFF5CFC26554}"/>
          </ac:picMkLst>
        </pc:picChg>
        <pc:picChg chg="add mod modCrop">
          <ac:chgData name="Wilson, Benjamin" userId="5e565093-9b03-48e6-8226-93d7b7cd3493" providerId="ADAL" clId="{53FF904F-3F5D-4AC0-AD5C-4276B4F956CF}" dt="2022-12-18T19:14:11.894" v="1473" actId="1076"/>
          <ac:picMkLst>
            <pc:docMk/>
            <pc:sldMk cId="2599427376" sldId="2141410963"/>
            <ac:picMk id="27" creationId="{5680569D-9A35-7421-D463-9D5A01DE52DD}"/>
          </ac:picMkLst>
        </pc:picChg>
        <pc:picChg chg="add mod modCrop">
          <ac:chgData name="Wilson, Benjamin" userId="5e565093-9b03-48e6-8226-93d7b7cd3493" providerId="ADAL" clId="{53FF904F-3F5D-4AC0-AD5C-4276B4F956CF}" dt="2022-12-18T19:14:11.894" v="1473" actId="1076"/>
          <ac:picMkLst>
            <pc:docMk/>
            <pc:sldMk cId="2599427376" sldId="2141410963"/>
            <ac:picMk id="28" creationId="{4CB8D522-BDEE-C198-06D7-CA0163695216}"/>
          </ac:picMkLst>
        </pc:picChg>
        <pc:picChg chg="add del mod">
          <ac:chgData name="Wilson, Benjamin" userId="5e565093-9b03-48e6-8226-93d7b7cd3493" providerId="ADAL" clId="{53FF904F-3F5D-4AC0-AD5C-4276B4F956CF}" dt="2022-12-18T19:11:19.373" v="1303" actId="478"/>
          <ac:picMkLst>
            <pc:docMk/>
            <pc:sldMk cId="2599427376" sldId="2141410963"/>
            <ac:picMk id="45" creationId="{0040376D-7498-48A5-9CB3-F4ED3D1A84AE}"/>
          </ac:picMkLst>
        </pc:picChg>
        <pc:picChg chg="add del mod">
          <ac:chgData name="Wilson, Benjamin" userId="5e565093-9b03-48e6-8226-93d7b7cd3493" providerId="ADAL" clId="{53FF904F-3F5D-4AC0-AD5C-4276B4F956CF}" dt="2022-12-18T19:11:19.373" v="1303" actId="478"/>
          <ac:picMkLst>
            <pc:docMk/>
            <pc:sldMk cId="2599427376" sldId="2141410963"/>
            <ac:picMk id="46" creationId="{061BA450-048D-D192-5115-A3C444939CDF}"/>
          </ac:picMkLst>
        </pc:picChg>
        <pc:picChg chg="add del mod">
          <ac:chgData name="Wilson, Benjamin" userId="5e565093-9b03-48e6-8226-93d7b7cd3493" providerId="ADAL" clId="{53FF904F-3F5D-4AC0-AD5C-4276B4F956CF}" dt="2022-12-18T19:11:19.373" v="1303" actId="478"/>
          <ac:picMkLst>
            <pc:docMk/>
            <pc:sldMk cId="2599427376" sldId="2141410963"/>
            <ac:picMk id="47" creationId="{3A44F30F-DEF1-890A-A600-F2D7D4F58398}"/>
          </ac:picMkLst>
        </pc:picChg>
        <pc:picChg chg="add del mod">
          <ac:chgData name="Wilson, Benjamin" userId="5e565093-9b03-48e6-8226-93d7b7cd3493" providerId="ADAL" clId="{53FF904F-3F5D-4AC0-AD5C-4276B4F956CF}" dt="2022-12-18T19:11:19.373" v="1303" actId="478"/>
          <ac:picMkLst>
            <pc:docMk/>
            <pc:sldMk cId="2599427376" sldId="2141410963"/>
            <ac:picMk id="48" creationId="{4D1F45DB-4291-FD59-3118-D2C76D65A50C}"/>
          </ac:picMkLst>
        </pc:picChg>
        <pc:picChg chg="add del mod">
          <ac:chgData name="Wilson, Benjamin" userId="5e565093-9b03-48e6-8226-93d7b7cd3493" providerId="ADAL" clId="{53FF904F-3F5D-4AC0-AD5C-4276B4F956CF}" dt="2022-12-18T19:12:31.170" v="1402" actId="478"/>
          <ac:picMkLst>
            <pc:docMk/>
            <pc:sldMk cId="2599427376" sldId="2141410963"/>
            <ac:picMk id="70" creationId="{8B5AF14F-8A4D-5567-A194-F81D90AD5635}"/>
          </ac:picMkLst>
        </pc:picChg>
        <pc:picChg chg="add del mod">
          <ac:chgData name="Wilson, Benjamin" userId="5e565093-9b03-48e6-8226-93d7b7cd3493" providerId="ADAL" clId="{53FF904F-3F5D-4AC0-AD5C-4276B4F956CF}" dt="2022-12-18T19:12:38.523" v="1415" actId="478"/>
          <ac:picMkLst>
            <pc:docMk/>
            <pc:sldMk cId="2599427376" sldId="2141410963"/>
            <ac:picMk id="71" creationId="{513E93B0-8650-EFDD-548D-5E9606DB05C7}"/>
          </ac:picMkLst>
        </pc:picChg>
        <pc:picChg chg="add del mod">
          <ac:chgData name="Wilson, Benjamin" userId="5e565093-9b03-48e6-8226-93d7b7cd3493" providerId="ADAL" clId="{53FF904F-3F5D-4AC0-AD5C-4276B4F956CF}" dt="2022-12-18T19:12:48.817" v="1430" actId="478"/>
          <ac:picMkLst>
            <pc:docMk/>
            <pc:sldMk cId="2599427376" sldId="2141410963"/>
            <ac:picMk id="72" creationId="{4F5DD358-8336-B6C3-C4BC-CB8204DE5DD9}"/>
          </ac:picMkLst>
        </pc:picChg>
        <pc:picChg chg="add del mod">
          <ac:chgData name="Wilson, Benjamin" userId="5e565093-9b03-48e6-8226-93d7b7cd3493" providerId="ADAL" clId="{53FF904F-3F5D-4AC0-AD5C-4276B4F956CF}" dt="2022-12-18T19:12:47.229" v="1429" actId="478"/>
          <ac:picMkLst>
            <pc:docMk/>
            <pc:sldMk cId="2599427376" sldId="2141410963"/>
            <ac:picMk id="73" creationId="{DB28326B-2EB7-1543-6564-25F95499A403}"/>
          </ac:picMkLst>
        </pc:picChg>
        <pc:picChg chg="add mod modCrop">
          <ac:chgData name="Wilson, Benjamin" userId="5e565093-9b03-48e6-8226-93d7b7cd3493" providerId="ADAL" clId="{53FF904F-3F5D-4AC0-AD5C-4276B4F956CF}" dt="2022-12-18T19:15:04.326" v="1489" actId="1076"/>
          <ac:picMkLst>
            <pc:docMk/>
            <pc:sldMk cId="2599427376" sldId="2141410963"/>
            <ac:picMk id="74" creationId="{EAD08C69-6997-0BDB-5F2C-D42BAB0C712A}"/>
          </ac:picMkLst>
        </pc:picChg>
        <pc:picChg chg="add mod modCrop">
          <ac:chgData name="Wilson, Benjamin" userId="5e565093-9b03-48e6-8226-93d7b7cd3493" providerId="ADAL" clId="{53FF904F-3F5D-4AC0-AD5C-4276B4F956CF}" dt="2022-12-18T19:16:20.785" v="1572" actId="1036"/>
          <ac:picMkLst>
            <pc:docMk/>
            <pc:sldMk cId="2599427376" sldId="2141410963"/>
            <ac:picMk id="75" creationId="{0F740E03-94D9-A970-4760-4BFB2C676661}"/>
          </ac:picMkLst>
        </pc:picChg>
        <pc:picChg chg="add mod modCrop">
          <ac:chgData name="Wilson, Benjamin" userId="5e565093-9b03-48e6-8226-93d7b7cd3493" providerId="ADAL" clId="{53FF904F-3F5D-4AC0-AD5C-4276B4F956CF}" dt="2022-12-18T19:16:14.634" v="1554" actId="14100"/>
          <ac:picMkLst>
            <pc:docMk/>
            <pc:sldMk cId="2599427376" sldId="2141410963"/>
            <ac:picMk id="76" creationId="{3234687B-A88A-D10E-048C-2A5ACB095C57}"/>
          </ac:picMkLst>
        </pc:picChg>
        <pc:picChg chg="add mod modCrop">
          <ac:chgData name="Wilson, Benjamin" userId="5e565093-9b03-48e6-8226-93d7b7cd3493" providerId="ADAL" clId="{53FF904F-3F5D-4AC0-AD5C-4276B4F956CF}" dt="2022-12-18T19:17:01.166" v="1595" actId="1036"/>
          <ac:picMkLst>
            <pc:docMk/>
            <pc:sldMk cId="2599427376" sldId="2141410963"/>
            <ac:picMk id="77" creationId="{C192A12E-7C6B-97DF-0B34-157CD27ADCB3}"/>
          </ac:picMkLst>
        </pc:picChg>
        <pc:cxnChg chg="add mod">
          <ac:chgData name="Wilson, Benjamin" userId="5e565093-9b03-48e6-8226-93d7b7cd3493" providerId="ADAL" clId="{53FF904F-3F5D-4AC0-AD5C-4276B4F956CF}" dt="2022-12-18T19:09:51.103" v="1249" actId="1035"/>
          <ac:cxnSpMkLst>
            <pc:docMk/>
            <pc:sldMk cId="2599427376" sldId="2141410963"/>
            <ac:cxnSpMk id="18" creationId="{DB8A33C4-1448-4776-ECF4-7044BDC86950}"/>
          </ac:cxnSpMkLst>
        </pc:cxnChg>
        <pc:cxnChg chg="add mod">
          <ac:chgData name="Wilson, Benjamin" userId="5e565093-9b03-48e6-8226-93d7b7cd3493" providerId="ADAL" clId="{53FF904F-3F5D-4AC0-AD5C-4276B4F956CF}" dt="2022-12-18T19:09:51.103" v="1249" actId="1035"/>
          <ac:cxnSpMkLst>
            <pc:docMk/>
            <pc:sldMk cId="2599427376" sldId="2141410963"/>
            <ac:cxnSpMk id="19" creationId="{F59EA79C-5A02-E768-3A97-FF47C7A44C97}"/>
          </ac:cxnSpMkLst>
        </pc:cxnChg>
        <pc:cxnChg chg="add mod">
          <ac:chgData name="Wilson, Benjamin" userId="5e565093-9b03-48e6-8226-93d7b7cd3493" providerId="ADAL" clId="{53FF904F-3F5D-4AC0-AD5C-4276B4F956CF}" dt="2022-12-18T19:14:11.894" v="1473" actId="1076"/>
          <ac:cxnSpMkLst>
            <pc:docMk/>
            <pc:sldMk cId="2599427376" sldId="2141410963"/>
            <ac:cxnSpMk id="20" creationId="{E59F6A99-8200-325A-D6A1-A4E5674BC100}"/>
          </ac:cxnSpMkLst>
        </pc:cxnChg>
        <pc:cxnChg chg="add mod">
          <ac:chgData name="Wilson, Benjamin" userId="5e565093-9b03-48e6-8226-93d7b7cd3493" providerId="ADAL" clId="{53FF904F-3F5D-4AC0-AD5C-4276B4F956CF}" dt="2022-12-18T19:14:11.894" v="1473" actId="1076"/>
          <ac:cxnSpMkLst>
            <pc:docMk/>
            <pc:sldMk cId="2599427376" sldId="2141410963"/>
            <ac:cxnSpMk id="21" creationId="{1B7B6C51-9C7D-3946-DD77-129EF51D0B23}"/>
          </ac:cxnSpMkLst>
        </pc:cxnChg>
        <pc:cxnChg chg="add del mod">
          <ac:chgData name="Wilson, Benjamin" userId="5e565093-9b03-48e6-8226-93d7b7cd3493" providerId="ADAL" clId="{53FF904F-3F5D-4AC0-AD5C-4276B4F956CF}" dt="2022-12-18T19:11:19.373" v="1303" actId="478"/>
          <ac:cxnSpMkLst>
            <pc:docMk/>
            <pc:sldMk cId="2599427376" sldId="2141410963"/>
            <ac:cxnSpMk id="41" creationId="{A5A84B5F-DA0B-4D88-CAC8-E6A42A93E7DB}"/>
          </ac:cxnSpMkLst>
        </pc:cxnChg>
        <pc:cxnChg chg="add del mod">
          <ac:chgData name="Wilson, Benjamin" userId="5e565093-9b03-48e6-8226-93d7b7cd3493" providerId="ADAL" clId="{53FF904F-3F5D-4AC0-AD5C-4276B4F956CF}" dt="2022-12-18T19:11:19.373" v="1303" actId="478"/>
          <ac:cxnSpMkLst>
            <pc:docMk/>
            <pc:sldMk cId="2599427376" sldId="2141410963"/>
            <ac:cxnSpMk id="42" creationId="{09947C04-1166-33B6-B61B-ADE43D591365}"/>
          </ac:cxnSpMkLst>
        </pc:cxnChg>
        <pc:cxnChg chg="add del mod">
          <ac:chgData name="Wilson, Benjamin" userId="5e565093-9b03-48e6-8226-93d7b7cd3493" providerId="ADAL" clId="{53FF904F-3F5D-4AC0-AD5C-4276B4F956CF}" dt="2022-12-18T19:11:19.373" v="1303" actId="478"/>
          <ac:cxnSpMkLst>
            <pc:docMk/>
            <pc:sldMk cId="2599427376" sldId="2141410963"/>
            <ac:cxnSpMk id="43" creationId="{856856EA-F7FC-1190-4EC6-0C52692A6FDE}"/>
          </ac:cxnSpMkLst>
        </pc:cxnChg>
        <pc:cxnChg chg="add del mod">
          <ac:chgData name="Wilson, Benjamin" userId="5e565093-9b03-48e6-8226-93d7b7cd3493" providerId="ADAL" clId="{53FF904F-3F5D-4AC0-AD5C-4276B4F956CF}" dt="2022-12-18T19:11:19.373" v="1303" actId="478"/>
          <ac:cxnSpMkLst>
            <pc:docMk/>
            <pc:sldMk cId="2599427376" sldId="2141410963"/>
            <ac:cxnSpMk id="44" creationId="{2E4363AC-DE76-6721-CEE5-96E4B89D79EE}"/>
          </ac:cxnSpMkLst>
        </pc:cxnChg>
        <pc:cxnChg chg="add mod">
          <ac:chgData name="Wilson, Benjamin" userId="5e565093-9b03-48e6-8226-93d7b7cd3493" providerId="ADAL" clId="{53FF904F-3F5D-4AC0-AD5C-4276B4F956CF}" dt="2022-12-18T19:14:18.268" v="1474" actId="1076"/>
          <ac:cxnSpMkLst>
            <pc:docMk/>
            <pc:sldMk cId="2599427376" sldId="2141410963"/>
            <ac:cxnSpMk id="66" creationId="{F7890698-2EC8-649B-E11D-F8FE7BD63EBF}"/>
          </ac:cxnSpMkLst>
        </pc:cxnChg>
        <pc:cxnChg chg="add mod">
          <ac:chgData name="Wilson, Benjamin" userId="5e565093-9b03-48e6-8226-93d7b7cd3493" providerId="ADAL" clId="{53FF904F-3F5D-4AC0-AD5C-4276B4F956CF}" dt="2022-12-18T19:14:18.268" v="1474" actId="1076"/>
          <ac:cxnSpMkLst>
            <pc:docMk/>
            <pc:sldMk cId="2599427376" sldId="2141410963"/>
            <ac:cxnSpMk id="67" creationId="{654ACC43-97F2-B00D-D00F-D68F2E2DEA08}"/>
          </ac:cxnSpMkLst>
        </pc:cxnChg>
        <pc:cxnChg chg="add mod">
          <ac:chgData name="Wilson, Benjamin" userId="5e565093-9b03-48e6-8226-93d7b7cd3493" providerId="ADAL" clId="{53FF904F-3F5D-4AC0-AD5C-4276B4F956CF}" dt="2022-12-18T19:16:20.785" v="1572" actId="1036"/>
          <ac:cxnSpMkLst>
            <pc:docMk/>
            <pc:sldMk cId="2599427376" sldId="2141410963"/>
            <ac:cxnSpMk id="68" creationId="{B4BE8483-E693-0EC9-0FF1-FEBA395ECAAF}"/>
          </ac:cxnSpMkLst>
        </pc:cxnChg>
        <pc:cxnChg chg="add mod">
          <ac:chgData name="Wilson, Benjamin" userId="5e565093-9b03-48e6-8226-93d7b7cd3493" providerId="ADAL" clId="{53FF904F-3F5D-4AC0-AD5C-4276B4F956CF}" dt="2022-12-18T19:16:20.785" v="1572" actId="1036"/>
          <ac:cxnSpMkLst>
            <pc:docMk/>
            <pc:sldMk cId="2599427376" sldId="2141410963"/>
            <ac:cxnSpMk id="69" creationId="{2A1A7205-8771-35C2-B721-50B2AEC88AE2}"/>
          </ac:cxnSpMkLst>
        </pc:cxnChg>
      </pc:sldChg>
      <pc:sldChg chg="delSp modSp new add mod">
        <pc:chgData name="Wilson, Benjamin" userId="5e565093-9b03-48e6-8226-93d7b7cd3493" providerId="ADAL" clId="{53FF904F-3F5D-4AC0-AD5C-4276B4F956CF}" dt="2022-12-18T19:18:26.535" v="1670" actId="478"/>
        <pc:sldMkLst>
          <pc:docMk/>
          <pc:sldMk cId="2144232611" sldId="2141410964"/>
        </pc:sldMkLst>
        <pc:spChg chg="mod">
          <ac:chgData name="Wilson, Benjamin" userId="5e565093-9b03-48e6-8226-93d7b7cd3493" providerId="ADAL" clId="{53FF904F-3F5D-4AC0-AD5C-4276B4F956CF}" dt="2022-12-18T19:18:05.074" v="1633" actId="20577"/>
          <ac:spMkLst>
            <pc:docMk/>
            <pc:sldMk cId="2144232611" sldId="2141410964"/>
            <ac:spMk id="2" creationId="{1899E8A8-035F-704F-62E6-F58784A3231C}"/>
          </ac:spMkLst>
        </pc:spChg>
        <pc:spChg chg="del">
          <ac:chgData name="Wilson, Benjamin" userId="5e565093-9b03-48e6-8226-93d7b7cd3493" providerId="ADAL" clId="{53FF904F-3F5D-4AC0-AD5C-4276B4F956CF}" dt="2022-12-18T19:18:26.535" v="1670" actId="478"/>
          <ac:spMkLst>
            <pc:docMk/>
            <pc:sldMk cId="2144232611" sldId="2141410964"/>
            <ac:spMk id="3" creationId="{76D70D36-A39C-1A28-0917-C56794D16DFF}"/>
          </ac:spMkLst>
        </pc:spChg>
        <pc:spChg chg="mod">
          <ac:chgData name="Wilson, Benjamin" userId="5e565093-9b03-48e6-8226-93d7b7cd3493" providerId="ADAL" clId="{53FF904F-3F5D-4AC0-AD5C-4276B4F956CF}" dt="2022-12-18T19:17:59.736" v="1616" actId="20577"/>
          <ac:spMkLst>
            <pc:docMk/>
            <pc:sldMk cId="2144232611" sldId="2141410964"/>
            <ac:spMk id="4" creationId="{02777EF1-9F1F-32CC-5ABC-EDAE8F4C6973}"/>
          </ac:spMkLst>
        </pc:spChg>
      </pc:sldChg>
      <pc:sldChg chg="delSp modSp add mod">
        <pc:chgData name="Wilson, Benjamin" userId="5e565093-9b03-48e6-8226-93d7b7cd3493" providerId="ADAL" clId="{53FF904F-3F5D-4AC0-AD5C-4276B4F956CF}" dt="2022-12-18T19:18:23.197" v="1669" actId="478"/>
        <pc:sldMkLst>
          <pc:docMk/>
          <pc:sldMk cId="4171999826" sldId="2141410965"/>
        </pc:sldMkLst>
        <pc:spChg chg="mod">
          <ac:chgData name="Wilson, Benjamin" userId="5e565093-9b03-48e6-8226-93d7b7cd3493" providerId="ADAL" clId="{53FF904F-3F5D-4AC0-AD5C-4276B4F956CF}" dt="2022-12-18T19:18:20.849" v="1668" actId="20577"/>
          <ac:spMkLst>
            <pc:docMk/>
            <pc:sldMk cId="4171999826" sldId="2141410965"/>
            <ac:spMk id="2" creationId="{1899E8A8-035F-704F-62E6-F58784A3231C}"/>
          </ac:spMkLst>
        </pc:spChg>
        <pc:spChg chg="del">
          <ac:chgData name="Wilson, Benjamin" userId="5e565093-9b03-48e6-8226-93d7b7cd3493" providerId="ADAL" clId="{53FF904F-3F5D-4AC0-AD5C-4276B4F956CF}" dt="2022-12-18T19:18:23.197" v="1669" actId="478"/>
          <ac:spMkLst>
            <pc:docMk/>
            <pc:sldMk cId="4171999826" sldId="2141410965"/>
            <ac:spMk id="3" creationId="{76D70D36-A39C-1A28-0917-C56794D16DFF}"/>
          </ac:spMkLst>
        </pc:spChg>
        <pc:spChg chg="mod">
          <ac:chgData name="Wilson, Benjamin" userId="5e565093-9b03-48e6-8226-93d7b7cd3493" providerId="ADAL" clId="{53FF904F-3F5D-4AC0-AD5C-4276B4F956CF}" dt="2022-12-18T19:18:13.251" v="1636" actId="20577"/>
          <ac:spMkLst>
            <pc:docMk/>
            <pc:sldMk cId="4171999826" sldId="2141410965"/>
            <ac:spMk id="4" creationId="{02777EF1-9F1F-32CC-5ABC-EDAE8F4C6973}"/>
          </ac:spMkLst>
        </pc:spChg>
      </pc:sldChg>
      <pc:sldChg chg="modSp add mod">
        <pc:chgData name="Wilson, Benjamin" userId="5e565093-9b03-48e6-8226-93d7b7cd3493" providerId="ADAL" clId="{53FF904F-3F5D-4AC0-AD5C-4276B4F956CF}" dt="2022-12-18T19:18:59.627" v="1692" actId="20577"/>
        <pc:sldMkLst>
          <pc:docMk/>
          <pc:sldMk cId="3671016760" sldId="2141410966"/>
        </pc:sldMkLst>
        <pc:spChg chg="mod">
          <ac:chgData name="Wilson, Benjamin" userId="5e565093-9b03-48e6-8226-93d7b7cd3493" providerId="ADAL" clId="{53FF904F-3F5D-4AC0-AD5C-4276B4F956CF}" dt="2022-12-18T19:18:59.627" v="1692" actId="20577"/>
          <ac:spMkLst>
            <pc:docMk/>
            <pc:sldMk cId="3671016760" sldId="2141410966"/>
            <ac:spMk id="2" creationId="{1899E8A8-035F-704F-62E6-F58784A3231C}"/>
          </ac:spMkLst>
        </pc:spChg>
        <pc:spChg chg="mod">
          <ac:chgData name="Wilson, Benjamin" userId="5e565093-9b03-48e6-8226-93d7b7cd3493" providerId="ADAL" clId="{53FF904F-3F5D-4AC0-AD5C-4276B4F956CF}" dt="2022-12-18T19:18:33.447" v="1673" actId="20577"/>
          <ac:spMkLst>
            <pc:docMk/>
            <pc:sldMk cId="3671016760" sldId="2141410966"/>
            <ac:spMk id="4" creationId="{02777EF1-9F1F-32CC-5ABC-EDAE8F4C6973}"/>
          </ac:spMkLst>
        </pc:spChg>
      </pc:sldChg>
      <pc:sldChg chg="modSp add mod">
        <pc:chgData name="Wilson, Benjamin" userId="5e565093-9b03-48e6-8226-93d7b7cd3493" providerId="ADAL" clId="{53FF904F-3F5D-4AC0-AD5C-4276B4F956CF}" dt="2022-12-18T19:19:39.328" v="1712" actId="20577"/>
        <pc:sldMkLst>
          <pc:docMk/>
          <pc:sldMk cId="106857726" sldId="2141410967"/>
        </pc:sldMkLst>
        <pc:spChg chg="mod">
          <ac:chgData name="Wilson, Benjamin" userId="5e565093-9b03-48e6-8226-93d7b7cd3493" providerId="ADAL" clId="{53FF904F-3F5D-4AC0-AD5C-4276B4F956CF}" dt="2022-12-18T19:19:39.328" v="1712" actId="20577"/>
          <ac:spMkLst>
            <pc:docMk/>
            <pc:sldMk cId="106857726" sldId="2141410967"/>
            <ac:spMk id="2" creationId="{1899E8A8-035F-704F-62E6-F58784A3231C}"/>
          </ac:spMkLst>
        </pc:spChg>
        <pc:spChg chg="mod">
          <ac:chgData name="Wilson, Benjamin" userId="5e565093-9b03-48e6-8226-93d7b7cd3493" providerId="ADAL" clId="{53FF904F-3F5D-4AC0-AD5C-4276B4F956CF}" dt="2022-12-18T19:19:36.882" v="1704" actId="20577"/>
          <ac:spMkLst>
            <pc:docMk/>
            <pc:sldMk cId="106857726" sldId="2141410967"/>
            <ac:spMk id="4" creationId="{02777EF1-9F1F-32CC-5ABC-EDAE8F4C6973}"/>
          </ac:spMkLst>
        </pc:spChg>
      </pc:sldChg>
      <pc:sldChg chg="modSp add mod">
        <pc:chgData name="Wilson, Benjamin" userId="5e565093-9b03-48e6-8226-93d7b7cd3493" providerId="ADAL" clId="{53FF904F-3F5D-4AC0-AD5C-4276B4F956CF}" dt="2022-12-18T19:20:30.582" v="1725" actId="20577"/>
        <pc:sldMkLst>
          <pc:docMk/>
          <pc:sldMk cId="2024534212" sldId="2141410968"/>
        </pc:sldMkLst>
        <pc:spChg chg="mod">
          <ac:chgData name="Wilson, Benjamin" userId="5e565093-9b03-48e6-8226-93d7b7cd3493" providerId="ADAL" clId="{53FF904F-3F5D-4AC0-AD5C-4276B4F956CF}" dt="2022-12-18T19:20:24.028" v="1723" actId="20577"/>
          <ac:spMkLst>
            <pc:docMk/>
            <pc:sldMk cId="2024534212" sldId="2141410968"/>
            <ac:spMk id="2" creationId="{1899E8A8-035F-704F-62E6-F58784A3231C}"/>
          </ac:spMkLst>
        </pc:spChg>
        <pc:spChg chg="mod">
          <ac:chgData name="Wilson, Benjamin" userId="5e565093-9b03-48e6-8226-93d7b7cd3493" providerId="ADAL" clId="{53FF904F-3F5D-4AC0-AD5C-4276B4F956CF}" dt="2022-12-18T19:20:30.582" v="1725" actId="20577"/>
          <ac:spMkLst>
            <pc:docMk/>
            <pc:sldMk cId="2024534212" sldId="2141410968"/>
            <ac:spMk id="4" creationId="{02777EF1-9F1F-32CC-5ABC-EDAE8F4C6973}"/>
          </ac:spMkLst>
        </pc:spChg>
      </pc:sldChg>
      <pc:sldChg chg="modSp add mod">
        <pc:chgData name="Wilson, Benjamin" userId="5e565093-9b03-48e6-8226-93d7b7cd3493" providerId="ADAL" clId="{53FF904F-3F5D-4AC0-AD5C-4276B4F956CF}" dt="2022-12-18T19:20:44.049" v="1738" actId="20577"/>
        <pc:sldMkLst>
          <pc:docMk/>
          <pc:sldMk cId="3694096127" sldId="2141410969"/>
        </pc:sldMkLst>
        <pc:spChg chg="mod">
          <ac:chgData name="Wilson, Benjamin" userId="5e565093-9b03-48e6-8226-93d7b7cd3493" providerId="ADAL" clId="{53FF904F-3F5D-4AC0-AD5C-4276B4F956CF}" dt="2022-12-18T19:20:44.049" v="1738" actId="20577"/>
          <ac:spMkLst>
            <pc:docMk/>
            <pc:sldMk cId="3694096127" sldId="2141410969"/>
            <ac:spMk id="2" creationId="{1899E8A8-035F-704F-62E6-F58784A3231C}"/>
          </ac:spMkLst>
        </pc:spChg>
        <pc:spChg chg="mod">
          <ac:chgData name="Wilson, Benjamin" userId="5e565093-9b03-48e6-8226-93d7b7cd3493" providerId="ADAL" clId="{53FF904F-3F5D-4AC0-AD5C-4276B4F956CF}" dt="2022-12-18T19:20:41.388" v="1728" actId="20577"/>
          <ac:spMkLst>
            <pc:docMk/>
            <pc:sldMk cId="3694096127" sldId="2141410969"/>
            <ac:spMk id="4" creationId="{02777EF1-9F1F-32CC-5ABC-EDAE8F4C6973}"/>
          </ac:spMkLst>
        </pc:spChg>
      </pc:sldChg>
      <pc:sldChg chg="addSp delSp modSp add mod">
        <pc:chgData name="Wilson, Benjamin" userId="5e565093-9b03-48e6-8226-93d7b7cd3493" providerId="ADAL" clId="{53FF904F-3F5D-4AC0-AD5C-4276B4F956CF}" dt="2022-12-18T19:28:21.381" v="2129" actId="20577"/>
        <pc:sldMkLst>
          <pc:docMk/>
          <pc:sldMk cId="1201133811" sldId="2141410970"/>
        </pc:sldMkLst>
        <pc:spChg chg="mod">
          <ac:chgData name="Wilson, Benjamin" userId="5e565093-9b03-48e6-8226-93d7b7cd3493" providerId="ADAL" clId="{53FF904F-3F5D-4AC0-AD5C-4276B4F956CF}" dt="2022-12-18T19:27:16.478" v="2021" actId="948"/>
          <ac:spMkLst>
            <pc:docMk/>
            <pc:sldMk cId="1201133811" sldId="2141410970"/>
            <ac:spMk id="3" creationId="{305F9436-CCF7-5AD1-7B91-8AFA3EBE05FE}"/>
          </ac:spMkLst>
        </pc:spChg>
        <pc:spChg chg="del">
          <ac:chgData name="Wilson, Benjamin" userId="5e565093-9b03-48e6-8226-93d7b7cd3493" providerId="ADAL" clId="{53FF904F-3F5D-4AC0-AD5C-4276B4F956CF}" dt="2022-12-18T19:26:22.658" v="1942" actId="478"/>
          <ac:spMkLst>
            <pc:docMk/>
            <pc:sldMk cId="1201133811" sldId="2141410970"/>
            <ac:spMk id="8" creationId="{3887E388-A046-8069-1254-8C48B3A5A8F1}"/>
          </ac:spMkLst>
        </pc:spChg>
        <pc:spChg chg="mod">
          <ac:chgData name="Wilson, Benjamin" userId="5e565093-9b03-48e6-8226-93d7b7cd3493" providerId="ADAL" clId="{53FF904F-3F5D-4AC0-AD5C-4276B4F956CF}" dt="2022-12-18T19:28:21.381" v="2129" actId="20577"/>
          <ac:spMkLst>
            <pc:docMk/>
            <pc:sldMk cId="1201133811" sldId="2141410970"/>
            <ac:spMk id="9" creationId="{01CC7622-1303-2CD9-B061-E4AEE2FCA5CF}"/>
          </ac:spMkLst>
        </pc:spChg>
        <pc:spChg chg="del">
          <ac:chgData name="Wilson, Benjamin" userId="5e565093-9b03-48e6-8226-93d7b7cd3493" providerId="ADAL" clId="{53FF904F-3F5D-4AC0-AD5C-4276B4F956CF}" dt="2022-12-18T19:25:20.337" v="1831" actId="478"/>
          <ac:spMkLst>
            <pc:docMk/>
            <pc:sldMk cId="1201133811" sldId="2141410970"/>
            <ac:spMk id="15" creationId="{193726CA-95D4-66C1-E867-06FE7B36E9E2}"/>
          </ac:spMkLst>
        </pc:spChg>
        <pc:spChg chg="mod">
          <ac:chgData name="Wilson, Benjamin" userId="5e565093-9b03-48e6-8226-93d7b7cd3493" providerId="ADAL" clId="{53FF904F-3F5D-4AC0-AD5C-4276B4F956CF}" dt="2022-12-18T19:28:02.265" v="2105" actId="20577"/>
          <ac:spMkLst>
            <pc:docMk/>
            <pc:sldMk cId="1201133811" sldId="2141410970"/>
            <ac:spMk id="17" creationId="{66340384-9C55-E51D-6C2F-669A2F6B0BE8}"/>
          </ac:spMkLst>
        </pc:spChg>
        <pc:spChg chg="add del mod modVis">
          <ac:chgData name="Wilson, Benjamin" userId="5e565093-9b03-48e6-8226-93d7b7cd3493" providerId="ADAL" clId="{53FF904F-3F5D-4AC0-AD5C-4276B4F956CF}" dt="2022-12-18T19:27:15.178" v="2000"/>
          <ac:spMkLst>
            <pc:docMk/>
            <pc:sldMk cId="1201133811" sldId="2141410970"/>
            <ac:spMk id="19" creationId="{450D4A5C-0971-56CE-33C3-A626380A4EE2}"/>
          </ac:spMkLst>
        </pc:spChg>
        <pc:spChg chg="add del mod modVis">
          <ac:chgData name="Wilson, Benjamin" userId="5e565093-9b03-48e6-8226-93d7b7cd3493" providerId="ADAL" clId="{53FF904F-3F5D-4AC0-AD5C-4276B4F956CF}" dt="2022-12-18T19:27:16.510" v="2062"/>
          <ac:spMkLst>
            <pc:docMk/>
            <pc:sldMk cId="1201133811" sldId="2141410970"/>
            <ac:spMk id="21" creationId="{937021B1-F1D1-F1C9-E19B-ADDADA726487}"/>
          </ac:spMkLst>
        </pc:spChg>
        <pc:grpChg chg="mod">
          <ac:chgData name="Wilson, Benjamin" userId="5e565093-9b03-48e6-8226-93d7b7cd3493" providerId="ADAL" clId="{53FF904F-3F5D-4AC0-AD5C-4276B4F956CF}" dt="2022-12-18T19:27:04.484" v="1956" actId="12788"/>
          <ac:grpSpMkLst>
            <pc:docMk/>
            <pc:sldMk cId="1201133811" sldId="2141410970"/>
            <ac:grpSpMk id="5" creationId="{7B85B859-CB51-8A71-35C4-D0E45DDE8852}"/>
          </ac:grpSpMkLst>
        </pc:grpChg>
        <pc:grpChg chg="add mod">
          <ac:chgData name="Wilson, Benjamin" userId="5e565093-9b03-48e6-8226-93d7b7cd3493" providerId="ADAL" clId="{53FF904F-3F5D-4AC0-AD5C-4276B4F956CF}" dt="2022-12-18T19:25:32.064" v="1915" actId="14100"/>
          <ac:grpSpMkLst>
            <pc:docMk/>
            <pc:sldMk cId="1201133811" sldId="2141410970"/>
            <ac:grpSpMk id="6" creationId="{B205E932-D50C-6CFE-768A-F366AB551A5D}"/>
          </ac:grpSpMkLst>
        </pc:grpChg>
        <pc:grpChg chg="add mod">
          <ac:chgData name="Wilson, Benjamin" userId="5e565093-9b03-48e6-8226-93d7b7cd3493" providerId="ADAL" clId="{53FF904F-3F5D-4AC0-AD5C-4276B4F956CF}" dt="2022-12-18T19:26:29.408" v="1944" actId="1076"/>
          <ac:grpSpMkLst>
            <pc:docMk/>
            <pc:sldMk cId="1201133811" sldId="2141410970"/>
            <ac:grpSpMk id="16" creationId="{686AA015-594B-E94F-4B92-E6672BFBA161}"/>
          </ac:grpSpMkLst>
        </pc:grpChg>
        <pc:graphicFrameChg chg="add mod ord modVis replST">
          <ac:chgData name="Wilson, Benjamin" userId="5e565093-9b03-48e6-8226-93d7b7cd3493" providerId="ADAL" clId="{53FF904F-3F5D-4AC0-AD5C-4276B4F956CF}" dt="2022-12-18T19:27:16.510" v="2064"/>
          <ac:graphicFrameMkLst>
            <pc:docMk/>
            <pc:sldMk cId="1201133811" sldId="2141410970"/>
            <ac:graphicFrameMk id="20" creationId="{415297E9-06B9-94DD-A9DD-D7BA2A433882}"/>
          </ac:graphicFrameMkLst>
        </pc:graphicFrameChg>
        <pc:picChg chg="add mod">
          <ac:chgData name="Wilson, Benjamin" userId="5e565093-9b03-48e6-8226-93d7b7cd3493" providerId="ADAL" clId="{53FF904F-3F5D-4AC0-AD5C-4276B4F956CF}" dt="2022-12-18T19:26:14.385" v="1941" actId="12788"/>
          <ac:picMkLst>
            <pc:docMk/>
            <pc:sldMk cId="1201133811" sldId="2141410970"/>
            <ac:picMk id="13" creationId="{6ED795B7-BDFE-AA18-FBC9-0652B78B9A44}"/>
          </ac:picMkLst>
        </pc:picChg>
        <pc:picChg chg="del">
          <ac:chgData name="Wilson, Benjamin" userId="5e565093-9b03-48e6-8226-93d7b7cd3493" providerId="ADAL" clId="{53FF904F-3F5D-4AC0-AD5C-4276B4F956CF}" dt="2022-12-18T19:25:17.845" v="1830" actId="478"/>
          <ac:picMkLst>
            <pc:docMk/>
            <pc:sldMk cId="1201133811" sldId="2141410970"/>
            <ac:picMk id="14" creationId="{19DDA832-E306-3587-9766-CA47236BBEDB}"/>
          </ac:picMkLst>
        </pc:picChg>
        <pc:cxnChg chg="mod">
          <ac:chgData name="Wilson, Benjamin" userId="5e565093-9b03-48e6-8226-93d7b7cd3493" providerId="ADAL" clId="{53FF904F-3F5D-4AC0-AD5C-4276B4F956CF}" dt="2022-12-18T19:25:55.346" v="1921" actId="6549"/>
          <ac:cxnSpMkLst>
            <pc:docMk/>
            <pc:sldMk cId="1201133811" sldId="2141410970"/>
            <ac:cxnSpMk id="11" creationId="{DBB81DAA-DC8C-4D64-B790-BD14E5244810}"/>
          </ac:cxnSpMkLst>
        </pc:cxnChg>
        <pc:cxnChg chg="mod">
          <ac:chgData name="Wilson, Benjamin" userId="5e565093-9b03-48e6-8226-93d7b7cd3493" providerId="ADAL" clId="{53FF904F-3F5D-4AC0-AD5C-4276B4F956CF}" dt="2022-12-18T19:26:45.982" v="1954" actId="6549"/>
          <ac:cxnSpMkLst>
            <pc:docMk/>
            <pc:sldMk cId="1201133811" sldId="2141410970"/>
            <ac:cxnSpMk id="18" creationId="{647179FD-3FEF-FC0B-6BE6-3F572CC74108}"/>
          </ac:cxnSpMkLst>
        </pc:cxnChg>
      </pc:sldChg>
      <pc:sldChg chg="addSp delSp modSp add mod">
        <pc:chgData name="Wilson, Benjamin" userId="5e565093-9b03-48e6-8226-93d7b7cd3493" providerId="ADAL" clId="{53FF904F-3F5D-4AC0-AD5C-4276B4F956CF}" dt="2022-12-18T19:46:08.966" v="3448" actId="20577"/>
        <pc:sldMkLst>
          <pc:docMk/>
          <pc:sldMk cId="1547260538" sldId="2141410971"/>
        </pc:sldMkLst>
        <pc:spChg chg="add mod">
          <ac:chgData name="Wilson, Benjamin" userId="5e565093-9b03-48e6-8226-93d7b7cd3493" providerId="ADAL" clId="{53FF904F-3F5D-4AC0-AD5C-4276B4F956CF}" dt="2022-12-18T19:37:18.122" v="2511" actId="20577"/>
          <ac:spMkLst>
            <pc:docMk/>
            <pc:sldMk cId="1547260538" sldId="2141410971"/>
            <ac:spMk id="2" creationId="{53F2A13D-985C-D9D9-D787-2A003E965A1C}"/>
          </ac:spMkLst>
        </pc:spChg>
        <pc:spChg chg="add del mod">
          <ac:chgData name="Wilson, Benjamin" userId="5e565093-9b03-48e6-8226-93d7b7cd3493" providerId="ADAL" clId="{53FF904F-3F5D-4AC0-AD5C-4276B4F956CF}" dt="2022-12-18T19:33:07.877" v="2336" actId="478"/>
          <ac:spMkLst>
            <pc:docMk/>
            <pc:sldMk cId="1547260538" sldId="2141410971"/>
            <ac:spMk id="5" creationId="{52AF9EAF-B9B0-D22C-494E-8E175337F58D}"/>
          </ac:spMkLst>
        </pc:spChg>
        <pc:spChg chg="add del mod">
          <ac:chgData name="Wilson, Benjamin" userId="5e565093-9b03-48e6-8226-93d7b7cd3493" providerId="ADAL" clId="{53FF904F-3F5D-4AC0-AD5C-4276B4F956CF}" dt="2022-12-18T19:34:26.194" v="2364" actId="478"/>
          <ac:spMkLst>
            <pc:docMk/>
            <pc:sldMk cId="1547260538" sldId="2141410971"/>
            <ac:spMk id="7" creationId="{604BF246-AD7D-7383-CFE7-02F233A12AA0}"/>
          </ac:spMkLst>
        </pc:spChg>
        <pc:spChg chg="del">
          <ac:chgData name="Wilson, Benjamin" userId="5e565093-9b03-48e6-8226-93d7b7cd3493" providerId="ADAL" clId="{53FF904F-3F5D-4AC0-AD5C-4276B4F956CF}" dt="2022-12-18T19:30:13.072" v="2137" actId="478"/>
          <ac:spMkLst>
            <pc:docMk/>
            <pc:sldMk cId="1547260538" sldId="2141410971"/>
            <ac:spMk id="8" creationId="{3887E388-A046-8069-1254-8C48B3A5A8F1}"/>
          </ac:spMkLst>
        </pc:spChg>
        <pc:spChg chg="mod">
          <ac:chgData name="Wilson, Benjamin" userId="5e565093-9b03-48e6-8226-93d7b7cd3493" providerId="ADAL" clId="{53FF904F-3F5D-4AC0-AD5C-4276B4F956CF}" dt="2022-12-18T19:31:58.899" v="2300"/>
          <ac:spMkLst>
            <pc:docMk/>
            <pc:sldMk cId="1547260538" sldId="2141410971"/>
            <ac:spMk id="10" creationId="{27FF77C1-2A12-80E6-F745-2B2BDE09C25E}"/>
          </ac:spMkLst>
        </pc:spChg>
        <pc:spChg chg="mod">
          <ac:chgData name="Wilson, Benjamin" userId="5e565093-9b03-48e6-8226-93d7b7cd3493" providerId="ADAL" clId="{53FF904F-3F5D-4AC0-AD5C-4276B4F956CF}" dt="2022-12-18T19:31:58.899" v="2300"/>
          <ac:spMkLst>
            <pc:docMk/>
            <pc:sldMk cId="1547260538" sldId="2141410971"/>
            <ac:spMk id="12" creationId="{8CF9B126-6050-03D4-1D25-13A9F5746528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13" creationId="{ED5E7E9E-090D-AE28-9B76-E3C73962617F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14" creationId="{14113AC9-ACE5-D438-E9A6-91DA3CEB97AA}"/>
          </ac:spMkLst>
        </pc:spChg>
        <pc:spChg chg="del">
          <ac:chgData name="Wilson, Benjamin" userId="5e565093-9b03-48e6-8226-93d7b7cd3493" providerId="ADAL" clId="{53FF904F-3F5D-4AC0-AD5C-4276B4F956CF}" dt="2022-12-18T19:30:13.072" v="2137" actId="478"/>
          <ac:spMkLst>
            <pc:docMk/>
            <pc:sldMk cId="1547260538" sldId="2141410971"/>
            <ac:spMk id="15" creationId="{193726CA-95D4-66C1-E867-06FE7B36E9E2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16" creationId="{102FADFA-148B-9601-5842-FBEDA2BF887D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17" creationId="{639B535B-160B-CFCD-6AAB-DEE291056969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18" creationId="{CF6DF856-B036-06F3-493B-5F1EEBDA5744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19" creationId="{4437478E-380F-D03F-1F71-8E514C885D07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0" creationId="{64E63193-92A5-4B62-3A78-AD9763C833D8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1" creationId="{4B117D03-5B5D-7F62-F7FF-E73D0EB1A508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2" creationId="{CC1AD919-F4E8-636F-E311-0FA2312107D9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3" creationId="{A2290A56-E800-DAB9-2C53-6036DD818DC7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4" creationId="{FA07D74D-1D00-4240-3388-54AD92C2A1D7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5" creationId="{2AF55F7D-1220-A49C-914B-DA60807371B4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6" creationId="{B38B1674-ADB6-5532-95D5-7C83447FF5A4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7" creationId="{138AA674-3626-98E3-8504-24D00E67BAED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8" creationId="{E661BF7D-0B1B-8C53-4E84-F12D09B37D09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29" creationId="{4E4B1221-91DB-DFDE-675B-122E2A39D7F7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30" creationId="{52398D12-EB87-99A2-F848-3B86861C2CD4}"/>
          </ac:spMkLst>
        </pc:spChg>
        <pc:spChg chg="add del mod">
          <ac:chgData name="Wilson, Benjamin" userId="5e565093-9b03-48e6-8226-93d7b7cd3493" providerId="ADAL" clId="{53FF904F-3F5D-4AC0-AD5C-4276B4F956CF}" dt="2022-12-18T19:32:09.946" v="2302" actId="478"/>
          <ac:spMkLst>
            <pc:docMk/>
            <pc:sldMk cId="1547260538" sldId="2141410971"/>
            <ac:spMk id="31" creationId="{780BAC5E-A5CC-18BF-26B5-EF8D06996771}"/>
          </ac:spMkLst>
        </pc:spChg>
        <pc:spChg chg="mod">
          <ac:chgData name="Wilson, Benjamin" userId="5e565093-9b03-48e6-8226-93d7b7cd3493" providerId="ADAL" clId="{53FF904F-3F5D-4AC0-AD5C-4276B4F956CF}" dt="2022-12-18T19:31:58.899" v="2300"/>
          <ac:spMkLst>
            <pc:docMk/>
            <pc:sldMk cId="1547260538" sldId="2141410971"/>
            <ac:spMk id="33" creationId="{D6DC4F69-34F7-AE36-0258-ABA384BB62D9}"/>
          </ac:spMkLst>
        </pc:spChg>
        <pc:spChg chg="mod">
          <ac:chgData name="Wilson, Benjamin" userId="5e565093-9b03-48e6-8226-93d7b7cd3493" providerId="ADAL" clId="{53FF904F-3F5D-4AC0-AD5C-4276B4F956CF}" dt="2022-12-18T19:31:58.899" v="2300"/>
          <ac:spMkLst>
            <pc:docMk/>
            <pc:sldMk cId="1547260538" sldId="2141410971"/>
            <ac:spMk id="34" creationId="{A0D7E80B-8985-0BBC-B818-60E68E99D32A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35" creationId="{37F9FC97-7C30-0416-2424-CF40C095AA0E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36" creationId="{795EF4E0-8073-0F74-0ABF-4C14B7597DCD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37" creationId="{11692FD4-D0AE-B8A9-F756-BB23F205C127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38" creationId="{3EF39F14-2A51-C604-606F-14BCA7C91D99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39" creationId="{7D5A046B-65F5-4CDA-8E3A-303599E8D50C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40" creationId="{325C70C4-85FD-2D4F-2C36-A6B3C41E1015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41" creationId="{BDDDCEC4-B51F-BEAE-05CB-CC18278F50CD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42" creationId="{6CCE444D-40C7-2C05-A192-5B90149D6D0B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43" creationId="{148C0EBF-A9C6-9ED5-45D5-A7BBF7368FB8}"/>
          </ac:spMkLst>
        </pc:spChg>
        <pc:spChg chg="add del mod">
          <ac:chgData name="Wilson, Benjamin" userId="5e565093-9b03-48e6-8226-93d7b7cd3493" providerId="ADAL" clId="{53FF904F-3F5D-4AC0-AD5C-4276B4F956CF}" dt="2022-12-18T19:32:13.081" v="2303" actId="478"/>
          <ac:spMkLst>
            <pc:docMk/>
            <pc:sldMk cId="1547260538" sldId="2141410971"/>
            <ac:spMk id="44" creationId="{B6A30E36-2F86-4E44-42F5-992E8DC172C3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45" creationId="{BCCE9404-FBF6-6D40-87E3-C1BC80069615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46" creationId="{880531CD-F1E2-0D6C-8AC7-8BFBF35999F7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47" creationId="{F324140A-887F-F2C3-F5DF-590964DF3A16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48" creationId="{B96A3C79-D66E-2204-0EAA-12B9B7037CA9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49" creationId="{849B53B7-7E93-7F54-5F6A-F5398FE440FA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50" creationId="{579AB64B-07C4-5C13-62AF-6E0EB8BFA7D9}"/>
          </ac:spMkLst>
        </pc:spChg>
        <pc:spChg chg="add del mod">
          <ac:chgData name="Wilson, Benjamin" userId="5e565093-9b03-48e6-8226-93d7b7cd3493" providerId="ADAL" clId="{53FF904F-3F5D-4AC0-AD5C-4276B4F956CF}" dt="2022-12-18T19:32:56.519" v="2334" actId="478"/>
          <ac:spMkLst>
            <pc:docMk/>
            <pc:sldMk cId="1547260538" sldId="2141410971"/>
            <ac:spMk id="51" creationId="{2DC4E342-E2FC-A2D4-88A1-FEC3FE9D5B9B}"/>
          </ac:spMkLst>
        </pc:spChg>
        <pc:spChg chg="add del mod">
          <ac:chgData name="Wilson, Benjamin" userId="5e565093-9b03-48e6-8226-93d7b7cd3493" providerId="ADAL" clId="{53FF904F-3F5D-4AC0-AD5C-4276B4F956CF}" dt="2022-12-18T19:33:11.563" v="2338" actId="478"/>
          <ac:spMkLst>
            <pc:docMk/>
            <pc:sldMk cId="1547260538" sldId="2141410971"/>
            <ac:spMk id="54" creationId="{E03E49A0-47D6-C4C4-46FF-2643EC3859F9}"/>
          </ac:spMkLst>
        </pc:spChg>
        <pc:spChg chg="add del mod">
          <ac:chgData name="Wilson, Benjamin" userId="5e565093-9b03-48e6-8226-93d7b7cd3493" providerId="ADAL" clId="{53FF904F-3F5D-4AC0-AD5C-4276B4F956CF}" dt="2022-12-18T19:33:55.102" v="2350" actId="478"/>
          <ac:spMkLst>
            <pc:docMk/>
            <pc:sldMk cId="1547260538" sldId="2141410971"/>
            <ac:spMk id="55" creationId="{7F2B8DF1-C507-E7AF-71FC-89C01BB440D1}"/>
          </ac:spMkLst>
        </pc:spChg>
        <pc:spChg chg="add del mod">
          <ac:chgData name="Wilson, Benjamin" userId="5e565093-9b03-48e6-8226-93d7b7cd3493" providerId="ADAL" clId="{53FF904F-3F5D-4AC0-AD5C-4276B4F956CF}" dt="2022-12-18T19:33:25.276" v="2341" actId="478"/>
          <ac:spMkLst>
            <pc:docMk/>
            <pc:sldMk cId="1547260538" sldId="2141410971"/>
            <ac:spMk id="56" creationId="{4DDAFCBE-F6B2-CC2A-8F49-CC25E0940015}"/>
          </ac:spMkLst>
        </pc:spChg>
        <pc:spChg chg="mod">
          <ac:chgData name="Wilson, Benjamin" userId="5e565093-9b03-48e6-8226-93d7b7cd3493" providerId="ADAL" clId="{53FF904F-3F5D-4AC0-AD5C-4276B4F956CF}" dt="2022-12-18T19:42:29.216" v="3135" actId="20577"/>
          <ac:spMkLst>
            <pc:docMk/>
            <pc:sldMk cId="1547260538" sldId="2141410971"/>
            <ac:spMk id="62" creationId="{B1CAB074-EC48-EB0F-F55C-F13F33670B79}"/>
          </ac:spMkLst>
        </pc:spChg>
        <pc:spChg chg="mod">
          <ac:chgData name="Wilson, Benjamin" userId="5e565093-9b03-48e6-8226-93d7b7cd3493" providerId="ADAL" clId="{53FF904F-3F5D-4AC0-AD5C-4276B4F956CF}" dt="2022-12-18T19:43:00.296" v="3182" actId="20577"/>
          <ac:spMkLst>
            <pc:docMk/>
            <pc:sldMk cId="1547260538" sldId="2141410971"/>
            <ac:spMk id="65" creationId="{1513C5E4-06C9-FD2D-127E-462BDB678A99}"/>
          </ac:spMkLst>
        </pc:spChg>
        <pc:spChg chg="add mod">
          <ac:chgData name="Wilson, Benjamin" userId="5e565093-9b03-48e6-8226-93d7b7cd3493" providerId="ADAL" clId="{53FF904F-3F5D-4AC0-AD5C-4276B4F956CF}" dt="2022-12-18T19:35:19.574" v="2368" actId="207"/>
          <ac:spMkLst>
            <pc:docMk/>
            <pc:sldMk cId="1547260538" sldId="2141410971"/>
            <ac:spMk id="67" creationId="{8B774B38-9FF1-2A50-1F14-5F527DD98CFB}"/>
          </ac:spMkLst>
        </pc:spChg>
        <pc:spChg chg="add mod">
          <ac:chgData name="Wilson, Benjamin" userId="5e565093-9b03-48e6-8226-93d7b7cd3493" providerId="ADAL" clId="{53FF904F-3F5D-4AC0-AD5C-4276B4F956CF}" dt="2022-12-18T19:46:08.966" v="3448" actId="20577"/>
          <ac:spMkLst>
            <pc:docMk/>
            <pc:sldMk cId="1547260538" sldId="2141410971"/>
            <ac:spMk id="68" creationId="{D1715F63-6604-972B-FFEB-7F0C4D78C3A6}"/>
          </ac:spMkLst>
        </pc:spChg>
        <pc:spChg chg="mod">
          <ac:chgData name="Wilson, Benjamin" userId="5e565093-9b03-48e6-8226-93d7b7cd3493" providerId="ADAL" clId="{53FF904F-3F5D-4AC0-AD5C-4276B4F956CF}" dt="2022-12-18T19:36:27.655" v="2442" actId="20577"/>
          <ac:spMkLst>
            <pc:docMk/>
            <pc:sldMk cId="1547260538" sldId="2141410971"/>
            <ac:spMk id="70" creationId="{5F13EF89-0171-AE00-C835-2B5938E73C68}"/>
          </ac:spMkLst>
        </pc:spChg>
        <pc:grpChg chg="add del mod">
          <ac:chgData name="Wilson, Benjamin" userId="5e565093-9b03-48e6-8226-93d7b7cd3493" providerId="ADAL" clId="{53FF904F-3F5D-4AC0-AD5C-4276B4F956CF}" dt="2022-12-18T19:32:06.598" v="2301" actId="478"/>
          <ac:grpSpMkLst>
            <pc:docMk/>
            <pc:sldMk cId="1547260538" sldId="2141410971"/>
            <ac:grpSpMk id="9" creationId="{324DE78D-C03C-73A4-B94B-E08BBA7F578E}"/>
          </ac:grpSpMkLst>
        </pc:grpChg>
        <pc:grpChg chg="add del mod">
          <ac:chgData name="Wilson, Benjamin" userId="5e565093-9b03-48e6-8226-93d7b7cd3493" providerId="ADAL" clId="{53FF904F-3F5D-4AC0-AD5C-4276B4F956CF}" dt="2022-12-18T19:32:13.081" v="2303" actId="478"/>
          <ac:grpSpMkLst>
            <pc:docMk/>
            <pc:sldMk cId="1547260538" sldId="2141410971"/>
            <ac:grpSpMk id="32" creationId="{A1B07451-8D5D-2E3E-7D6C-9B2D9B7B0070}"/>
          </ac:grpSpMkLst>
        </pc:grpChg>
        <pc:grpChg chg="add mod">
          <ac:chgData name="Wilson, Benjamin" userId="5e565093-9b03-48e6-8226-93d7b7cd3493" providerId="ADAL" clId="{53FF904F-3F5D-4AC0-AD5C-4276B4F956CF}" dt="2022-12-18T19:36:44.809" v="2446" actId="554"/>
          <ac:grpSpMkLst>
            <pc:docMk/>
            <pc:sldMk cId="1547260538" sldId="2141410971"/>
            <ac:grpSpMk id="61" creationId="{BE20BD87-FD0A-55B4-C3B2-18A85B0D797B}"/>
          </ac:grpSpMkLst>
        </pc:grpChg>
        <pc:grpChg chg="add mod">
          <ac:chgData name="Wilson, Benjamin" userId="5e565093-9b03-48e6-8226-93d7b7cd3493" providerId="ADAL" clId="{53FF904F-3F5D-4AC0-AD5C-4276B4F956CF}" dt="2022-12-18T19:34:31.227" v="2365" actId="1076"/>
          <ac:grpSpMkLst>
            <pc:docMk/>
            <pc:sldMk cId="1547260538" sldId="2141410971"/>
            <ac:grpSpMk id="64" creationId="{FDEFB40D-D075-787A-3B55-CF2CC665EE5C}"/>
          </ac:grpSpMkLst>
        </pc:grpChg>
        <pc:grpChg chg="add mod">
          <ac:chgData name="Wilson, Benjamin" userId="5e565093-9b03-48e6-8226-93d7b7cd3493" providerId="ADAL" clId="{53FF904F-3F5D-4AC0-AD5C-4276B4F956CF}" dt="2022-12-18T19:36:44.809" v="2446" actId="554"/>
          <ac:grpSpMkLst>
            <pc:docMk/>
            <pc:sldMk cId="1547260538" sldId="2141410971"/>
            <ac:grpSpMk id="69" creationId="{9E908856-1BFA-5F5B-1F19-FFBEFE82AE9A}"/>
          </ac:grpSpMkLst>
        </pc:grpChg>
        <pc:picChg chg="del">
          <ac:chgData name="Wilson, Benjamin" userId="5e565093-9b03-48e6-8226-93d7b7cd3493" providerId="ADAL" clId="{53FF904F-3F5D-4AC0-AD5C-4276B4F956CF}" dt="2022-12-18T19:30:13.072" v="2137" actId="478"/>
          <ac:picMkLst>
            <pc:docMk/>
            <pc:sldMk cId="1547260538" sldId="2141410971"/>
            <ac:picMk id="6" creationId="{EFAB54E8-1333-CC67-0587-B7DD83553F51}"/>
          </ac:picMkLst>
        </pc:picChg>
        <pc:picChg chg="del">
          <ac:chgData name="Wilson, Benjamin" userId="5e565093-9b03-48e6-8226-93d7b7cd3493" providerId="ADAL" clId="{53FF904F-3F5D-4AC0-AD5C-4276B4F956CF}" dt="2022-12-18T19:30:13.072" v="2137" actId="478"/>
          <ac:picMkLst>
            <pc:docMk/>
            <pc:sldMk cId="1547260538" sldId="2141410971"/>
            <ac:picMk id="11" creationId="{610FFB96-C594-DA5D-F2DE-C8E07F84CFB9}"/>
          </ac:picMkLst>
        </pc:picChg>
        <pc:picChg chg="add mod">
          <ac:chgData name="Wilson, Benjamin" userId="5e565093-9b03-48e6-8226-93d7b7cd3493" providerId="ADAL" clId="{53FF904F-3F5D-4AC0-AD5C-4276B4F956CF}" dt="2022-12-18T19:34:19.943" v="2362" actId="1076"/>
          <ac:picMkLst>
            <pc:docMk/>
            <pc:sldMk cId="1547260538" sldId="2141410971"/>
            <ac:picMk id="52" creationId="{074EA6AF-FCC8-A893-0CFA-7731D3DC984F}"/>
          </ac:picMkLst>
        </pc:picChg>
        <pc:picChg chg="add mod">
          <ac:chgData name="Wilson, Benjamin" userId="5e565093-9b03-48e6-8226-93d7b7cd3493" providerId="ADAL" clId="{53FF904F-3F5D-4AC0-AD5C-4276B4F956CF}" dt="2022-12-18T19:32:48.764" v="2333" actId="1076"/>
          <ac:picMkLst>
            <pc:docMk/>
            <pc:sldMk cId="1547260538" sldId="2141410971"/>
            <ac:picMk id="53" creationId="{0B393B99-CF69-1442-227A-9DD9BAA41B08}"/>
          </ac:picMkLst>
        </pc:picChg>
        <pc:cxnChg chg="add del mod">
          <ac:chgData name="Wilson, Benjamin" userId="5e565093-9b03-48e6-8226-93d7b7cd3493" providerId="ADAL" clId="{53FF904F-3F5D-4AC0-AD5C-4276B4F956CF}" dt="2022-12-18T19:34:05.818" v="2353" actId="478"/>
          <ac:cxnSpMkLst>
            <pc:docMk/>
            <pc:sldMk cId="1547260538" sldId="2141410971"/>
            <ac:cxnSpMk id="57" creationId="{7CAE44F0-2503-5A04-0B89-CA808366A663}"/>
          </ac:cxnSpMkLst>
        </pc:cxnChg>
        <pc:cxnChg chg="mod">
          <ac:chgData name="Wilson, Benjamin" userId="5e565093-9b03-48e6-8226-93d7b7cd3493" providerId="ADAL" clId="{53FF904F-3F5D-4AC0-AD5C-4276B4F956CF}" dt="2022-12-18T19:34:02.028" v="2351"/>
          <ac:cxnSpMkLst>
            <pc:docMk/>
            <pc:sldMk cId="1547260538" sldId="2141410971"/>
            <ac:cxnSpMk id="63" creationId="{A10FA775-74FF-1F85-1AB2-E2298AA20147}"/>
          </ac:cxnSpMkLst>
        </pc:cxnChg>
        <pc:cxnChg chg="mod">
          <ac:chgData name="Wilson, Benjamin" userId="5e565093-9b03-48e6-8226-93d7b7cd3493" providerId="ADAL" clId="{53FF904F-3F5D-4AC0-AD5C-4276B4F956CF}" dt="2022-12-18T19:34:16.558" v="2360"/>
          <ac:cxnSpMkLst>
            <pc:docMk/>
            <pc:sldMk cId="1547260538" sldId="2141410971"/>
            <ac:cxnSpMk id="66" creationId="{17C3E8A5-ED75-153D-8041-5FEBFB5AB206}"/>
          </ac:cxnSpMkLst>
        </pc:cxnChg>
        <pc:cxnChg chg="mod">
          <ac:chgData name="Wilson, Benjamin" userId="5e565093-9b03-48e6-8226-93d7b7cd3493" providerId="ADAL" clId="{53FF904F-3F5D-4AC0-AD5C-4276B4F956CF}" dt="2022-12-18T19:36:07.059" v="2428"/>
          <ac:cxnSpMkLst>
            <pc:docMk/>
            <pc:sldMk cId="1547260538" sldId="2141410971"/>
            <ac:cxnSpMk id="71" creationId="{53403248-E68E-2525-64CD-63A0D229EA40}"/>
          </ac:cxnSpMkLst>
        </pc:cxnChg>
      </pc:sldChg>
      <pc:sldChg chg="addSp delSp modSp add mod">
        <pc:chgData name="Wilson, Benjamin" userId="5e565093-9b03-48e6-8226-93d7b7cd3493" providerId="ADAL" clId="{53FF904F-3F5D-4AC0-AD5C-4276B4F956CF}" dt="2022-12-18T19:46:32.633" v="3472" actId="20577"/>
        <pc:sldMkLst>
          <pc:docMk/>
          <pc:sldMk cId="3905371664" sldId="2141410972"/>
        </pc:sldMkLst>
        <pc:spChg chg="mod">
          <ac:chgData name="Wilson, Benjamin" userId="5e565093-9b03-48e6-8226-93d7b7cd3493" providerId="ADAL" clId="{53FF904F-3F5D-4AC0-AD5C-4276B4F956CF}" dt="2022-12-18T19:44:49.378" v="3303" actId="6549"/>
          <ac:spMkLst>
            <pc:docMk/>
            <pc:sldMk cId="3905371664" sldId="2141410972"/>
            <ac:spMk id="2" creationId="{53F2A13D-985C-D9D9-D787-2A003E965A1C}"/>
          </ac:spMkLst>
        </pc:spChg>
        <pc:spChg chg="mod">
          <ac:chgData name="Wilson, Benjamin" userId="5e565093-9b03-48e6-8226-93d7b7cd3493" providerId="ADAL" clId="{53FF904F-3F5D-4AC0-AD5C-4276B4F956CF}" dt="2022-12-18T19:41:36.008" v="3061" actId="948"/>
          <ac:spMkLst>
            <pc:docMk/>
            <pc:sldMk cId="3905371664" sldId="2141410972"/>
            <ac:spMk id="3" creationId="{305F9436-CCF7-5AD1-7B91-8AFA3EBE05FE}"/>
          </ac:spMkLst>
        </pc:spChg>
        <pc:spChg chg="add del mod modVis">
          <ac:chgData name="Wilson, Benjamin" userId="5e565093-9b03-48e6-8226-93d7b7cd3493" providerId="ADAL" clId="{53FF904F-3F5D-4AC0-AD5C-4276B4F956CF}" dt="2022-12-18T19:41:33.370" v="3043"/>
          <ac:spMkLst>
            <pc:docMk/>
            <pc:sldMk cId="3905371664" sldId="2141410972"/>
            <ac:spMk id="5" creationId="{17F1E24A-8E2E-3373-C3C2-7947FE8F3079}"/>
          </ac:spMkLst>
        </pc:spChg>
        <pc:spChg chg="add del mod modVis">
          <ac:chgData name="Wilson, Benjamin" userId="5e565093-9b03-48e6-8226-93d7b7cd3493" providerId="ADAL" clId="{53FF904F-3F5D-4AC0-AD5C-4276B4F956CF}" dt="2022-12-18T19:41:36.036" v="3102"/>
          <ac:spMkLst>
            <pc:docMk/>
            <pc:sldMk cId="3905371664" sldId="2141410972"/>
            <ac:spMk id="7" creationId="{2A5EE6EF-B2AC-E366-5E5D-DE1908984CBD}"/>
          </ac:spMkLst>
        </pc:spChg>
        <pc:spChg chg="mod">
          <ac:chgData name="Wilson, Benjamin" userId="5e565093-9b03-48e6-8226-93d7b7cd3493" providerId="ADAL" clId="{53FF904F-3F5D-4AC0-AD5C-4276B4F956CF}" dt="2022-12-18T19:42:36.899" v="3147" actId="20577"/>
          <ac:spMkLst>
            <pc:docMk/>
            <pc:sldMk cId="3905371664" sldId="2141410972"/>
            <ac:spMk id="62" creationId="{B1CAB074-EC48-EB0F-F55C-F13F33670B79}"/>
          </ac:spMkLst>
        </pc:spChg>
        <pc:spChg chg="mod">
          <ac:chgData name="Wilson, Benjamin" userId="5e565093-9b03-48e6-8226-93d7b7cd3493" providerId="ADAL" clId="{53FF904F-3F5D-4AC0-AD5C-4276B4F956CF}" dt="2022-12-18T19:43:35.925" v="3201" actId="20577"/>
          <ac:spMkLst>
            <pc:docMk/>
            <pc:sldMk cId="3905371664" sldId="2141410972"/>
            <ac:spMk id="65" creationId="{1513C5E4-06C9-FD2D-127E-462BDB678A99}"/>
          </ac:spMkLst>
        </pc:spChg>
        <pc:spChg chg="mod">
          <ac:chgData name="Wilson, Benjamin" userId="5e565093-9b03-48e6-8226-93d7b7cd3493" providerId="ADAL" clId="{53FF904F-3F5D-4AC0-AD5C-4276B4F956CF}" dt="2022-12-18T19:46:32.633" v="3472" actId="20577"/>
          <ac:spMkLst>
            <pc:docMk/>
            <pc:sldMk cId="3905371664" sldId="2141410972"/>
            <ac:spMk id="68" creationId="{D1715F63-6604-972B-FFEB-7F0C4D78C3A6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19:41:36.046" v="3104"/>
          <ac:graphicFrameMkLst>
            <pc:docMk/>
            <pc:sldMk cId="3905371664" sldId="2141410972"/>
            <ac:graphicFrameMk id="6" creationId="{5AF9F8A0-4560-D27D-D202-82FBABE8712C}"/>
          </ac:graphicFrameMkLst>
        </pc:graphicFrameChg>
        <pc:picChg chg="add mod">
          <ac:chgData name="Wilson, Benjamin" userId="5e565093-9b03-48e6-8226-93d7b7cd3493" providerId="ADAL" clId="{53FF904F-3F5D-4AC0-AD5C-4276B4F956CF}" dt="2022-12-18T19:42:02.974" v="3125" actId="14100"/>
          <ac:picMkLst>
            <pc:docMk/>
            <pc:sldMk cId="3905371664" sldId="2141410972"/>
            <ac:picMk id="8" creationId="{39E5F488-16CF-BA8F-AD54-52556EA53BD1}"/>
          </ac:picMkLst>
        </pc:picChg>
        <pc:picChg chg="add mod">
          <ac:chgData name="Wilson, Benjamin" userId="5e565093-9b03-48e6-8226-93d7b7cd3493" providerId="ADAL" clId="{53FF904F-3F5D-4AC0-AD5C-4276B4F956CF}" dt="2022-12-18T19:42:10.498" v="3128" actId="14100"/>
          <ac:picMkLst>
            <pc:docMk/>
            <pc:sldMk cId="3905371664" sldId="2141410972"/>
            <ac:picMk id="9" creationId="{BEE40E67-E113-BAC9-7953-98B47B267C41}"/>
          </ac:picMkLst>
        </pc:picChg>
        <pc:picChg chg="del">
          <ac:chgData name="Wilson, Benjamin" userId="5e565093-9b03-48e6-8226-93d7b7cd3493" providerId="ADAL" clId="{53FF904F-3F5D-4AC0-AD5C-4276B4F956CF}" dt="2022-12-18T19:41:40.386" v="3112" actId="478"/>
          <ac:picMkLst>
            <pc:docMk/>
            <pc:sldMk cId="3905371664" sldId="2141410972"/>
            <ac:picMk id="52" creationId="{074EA6AF-FCC8-A893-0CFA-7731D3DC984F}"/>
          </ac:picMkLst>
        </pc:picChg>
        <pc:picChg chg="del">
          <ac:chgData name="Wilson, Benjamin" userId="5e565093-9b03-48e6-8226-93d7b7cd3493" providerId="ADAL" clId="{53FF904F-3F5D-4AC0-AD5C-4276B4F956CF}" dt="2022-12-18T19:41:48.993" v="3122" actId="478"/>
          <ac:picMkLst>
            <pc:docMk/>
            <pc:sldMk cId="3905371664" sldId="2141410972"/>
            <ac:picMk id="53" creationId="{0B393B99-CF69-1442-227A-9DD9BAA41B08}"/>
          </ac:picMkLst>
        </pc:picChg>
        <pc:cxnChg chg="mod">
          <ac:chgData name="Wilson, Benjamin" userId="5e565093-9b03-48e6-8226-93d7b7cd3493" providerId="ADAL" clId="{53FF904F-3F5D-4AC0-AD5C-4276B4F956CF}" dt="2022-12-18T19:42:34.192" v="3137" actId="20577"/>
          <ac:cxnSpMkLst>
            <pc:docMk/>
            <pc:sldMk cId="3905371664" sldId="2141410972"/>
            <ac:cxnSpMk id="63" creationId="{A10FA775-74FF-1F85-1AB2-E2298AA20147}"/>
          </ac:cxnSpMkLst>
        </pc:cxnChg>
        <pc:cxnChg chg="mod">
          <ac:chgData name="Wilson, Benjamin" userId="5e565093-9b03-48e6-8226-93d7b7cd3493" providerId="ADAL" clId="{53FF904F-3F5D-4AC0-AD5C-4276B4F956CF}" dt="2022-12-18T19:43:09.212" v="3184" actId="20577"/>
          <ac:cxnSpMkLst>
            <pc:docMk/>
            <pc:sldMk cId="3905371664" sldId="2141410972"/>
            <ac:cxnSpMk id="66" creationId="{17C3E8A5-ED75-153D-8041-5FEBFB5AB206}"/>
          </ac:cxnSpMkLst>
        </pc:cxnChg>
      </pc:sldChg>
      <pc:sldChg chg="addSp modSp new add del mod">
        <pc:chgData name="Wilson, Benjamin" userId="5e565093-9b03-48e6-8226-93d7b7cd3493" providerId="ADAL" clId="{53FF904F-3F5D-4AC0-AD5C-4276B4F956CF}" dt="2022-12-18T19:51:12.497" v="3496" actId="2696"/>
        <pc:sldMkLst>
          <pc:docMk/>
          <pc:sldMk cId="839029592" sldId="2141410973"/>
        </pc:sldMkLst>
        <pc:spChg chg="mod">
          <ac:chgData name="Wilson, Benjamin" userId="5e565093-9b03-48e6-8226-93d7b7cd3493" providerId="ADAL" clId="{53FF904F-3F5D-4AC0-AD5C-4276B4F956CF}" dt="2022-12-18T19:50:49.935" v="3493" actId="14100"/>
          <ac:spMkLst>
            <pc:docMk/>
            <pc:sldMk cId="839029592" sldId="2141410973"/>
            <ac:spMk id="2" creationId="{935C03E2-AA8A-39B7-21CC-DF01C509259E}"/>
          </ac:spMkLst>
        </pc:spChg>
        <pc:picChg chg="add mod">
          <ac:chgData name="Wilson, Benjamin" userId="5e565093-9b03-48e6-8226-93d7b7cd3493" providerId="ADAL" clId="{53FF904F-3F5D-4AC0-AD5C-4276B4F956CF}" dt="2022-12-18T19:50:56.473" v="3495" actId="1076"/>
          <ac:picMkLst>
            <pc:docMk/>
            <pc:sldMk cId="839029592" sldId="2141410973"/>
            <ac:picMk id="6" creationId="{1E11A229-BCA4-C1DF-5265-7AC1EC0925E1}"/>
          </ac:picMkLst>
        </pc:picChg>
      </pc:sldChg>
      <pc:sldChg chg="addSp delSp modSp new add mod">
        <pc:chgData name="Wilson, Benjamin" userId="5e565093-9b03-48e6-8226-93d7b7cd3493" providerId="ADAL" clId="{53FF904F-3F5D-4AC0-AD5C-4276B4F956CF}" dt="2022-12-18T20:06:58.152" v="4543" actId="208"/>
        <pc:sldMkLst>
          <pc:docMk/>
          <pc:sldMk cId="1572791301" sldId="2141410974"/>
        </pc:sldMkLst>
        <pc:spChg chg="del">
          <ac:chgData name="Wilson, Benjamin" userId="5e565093-9b03-48e6-8226-93d7b7cd3493" providerId="ADAL" clId="{53FF904F-3F5D-4AC0-AD5C-4276B4F956CF}" dt="2022-12-18T19:55:04.343" v="3531" actId="478"/>
          <ac:spMkLst>
            <pc:docMk/>
            <pc:sldMk cId="1572791301" sldId="2141410974"/>
            <ac:spMk id="2" creationId="{D472A6B5-C00B-23E2-19D1-ADF9A981E580}"/>
          </ac:spMkLst>
        </pc:spChg>
        <pc:spChg chg="mod">
          <ac:chgData name="Wilson, Benjamin" userId="5e565093-9b03-48e6-8226-93d7b7cd3493" providerId="ADAL" clId="{53FF904F-3F5D-4AC0-AD5C-4276B4F956CF}" dt="2022-12-18T19:55:10.612" v="3533" actId="948"/>
          <ac:spMkLst>
            <pc:docMk/>
            <pc:sldMk cId="1572791301" sldId="2141410974"/>
            <ac:spMk id="3" creationId="{43F40E6B-6361-4E09-5CA5-450D67A30CCA}"/>
          </ac:spMkLst>
        </pc:spChg>
        <pc:spChg chg="mod">
          <ac:chgData name="Wilson, Benjamin" userId="5e565093-9b03-48e6-8226-93d7b7cd3493" providerId="ADAL" clId="{53FF904F-3F5D-4AC0-AD5C-4276B4F956CF}" dt="2022-12-18T19:55:16.087" v="3605" actId="20577"/>
          <ac:spMkLst>
            <pc:docMk/>
            <pc:sldMk cId="1572791301" sldId="2141410974"/>
            <ac:spMk id="4" creationId="{080E9A08-00DA-0C99-C4AE-C76F9868EE1C}"/>
          </ac:spMkLst>
        </pc:spChg>
        <pc:spChg chg="del">
          <ac:chgData name="Wilson, Benjamin" userId="5e565093-9b03-48e6-8226-93d7b7cd3493" providerId="ADAL" clId="{53FF904F-3F5D-4AC0-AD5C-4276B4F956CF}" dt="2022-12-18T19:55:42.871" v="3637" actId="478"/>
          <ac:spMkLst>
            <pc:docMk/>
            <pc:sldMk cId="1572791301" sldId="2141410974"/>
            <ac:spMk id="5" creationId="{11FDE47B-131F-1F51-38DA-6569F95D2A78}"/>
          </ac:spMkLst>
        </pc:spChg>
        <pc:spChg chg="add del mod modVis">
          <ac:chgData name="Wilson, Benjamin" userId="5e565093-9b03-48e6-8226-93d7b7cd3493" providerId="ADAL" clId="{53FF904F-3F5D-4AC0-AD5C-4276B4F956CF}" dt="2022-12-18T19:55:10.644" v="3574"/>
          <ac:spMkLst>
            <pc:docMk/>
            <pc:sldMk cId="1572791301" sldId="2141410974"/>
            <ac:spMk id="6" creationId="{7C95F272-C863-BFF1-3EF8-AE7E56FF15E0}"/>
          </ac:spMkLst>
        </pc:spChg>
        <pc:spChg chg="add mod">
          <ac:chgData name="Wilson, Benjamin" userId="5e565093-9b03-48e6-8226-93d7b7cd3493" providerId="ADAL" clId="{53FF904F-3F5D-4AC0-AD5C-4276B4F956CF}" dt="2022-12-18T19:58:10.107" v="3902" actId="20577"/>
          <ac:spMkLst>
            <pc:docMk/>
            <pc:sldMk cId="1572791301" sldId="2141410974"/>
            <ac:spMk id="8" creationId="{1D7E4FA3-78C3-615E-AB58-51F78C9F77F7}"/>
          </ac:spMkLst>
        </pc:spChg>
        <pc:spChg chg="add mod">
          <ac:chgData name="Wilson, Benjamin" userId="5e565093-9b03-48e6-8226-93d7b7cd3493" providerId="ADAL" clId="{53FF904F-3F5D-4AC0-AD5C-4276B4F956CF}" dt="2022-12-18T20:03:03.139" v="4369" actId="20577"/>
          <ac:spMkLst>
            <pc:docMk/>
            <pc:sldMk cId="1572791301" sldId="2141410974"/>
            <ac:spMk id="9" creationId="{2056EAAB-CEE8-D514-7ADB-9F300E68C040}"/>
          </ac:spMkLst>
        </pc:spChg>
        <pc:spChg chg="add mod">
          <ac:chgData name="Wilson, Benjamin" userId="5e565093-9b03-48e6-8226-93d7b7cd3493" providerId="ADAL" clId="{53FF904F-3F5D-4AC0-AD5C-4276B4F956CF}" dt="2022-12-18T20:03:48.222" v="4512" actId="20577"/>
          <ac:spMkLst>
            <pc:docMk/>
            <pc:sldMk cId="1572791301" sldId="2141410974"/>
            <ac:spMk id="10" creationId="{E8D61300-D7FB-38C3-0607-5F979B42B7DF}"/>
          </ac:spMkLst>
        </pc:spChg>
        <pc:spChg chg="add mod">
          <ac:chgData name="Wilson, Benjamin" userId="5e565093-9b03-48e6-8226-93d7b7cd3493" providerId="ADAL" clId="{53FF904F-3F5D-4AC0-AD5C-4276B4F956CF}" dt="2022-12-18T20:00:42.333" v="4160" actId="20577"/>
          <ac:spMkLst>
            <pc:docMk/>
            <pc:sldMk cId="1572791301" sldId="2141410974"/>
            <ac:spMk id="11" creationId="{2FED0D74-6C74-C7AE-ED29-A6F6AB56491C}"/>
          </ac:spMkLst>
        </pc:spChg>
        <pc:spChg chg="mod">
          <ac:chgData name="Wilson, Benjamin" userId="5e565093-9b03-48e6-8226-93d7b7cd3493" providerId="ADAL" clId="{53FF904F-3F5D-4AC0-AD5C-4276B4F956CF}" dt="2022-12-18T19:56:28.083" v="3673" actId="20577"/>
          <ac:spMkLst>
            <pc:docMk/>
            <pc:sldMk cId="1572791301" sldId="2141410974"/>
            <ac:spMk id="13" creationId="{5931D802-EE6E-0C95-F7CD-9BC81DBB48EF}"/>
          </ac:spMkLst>
        </pc:spChg>
        <pc:spChg chg="mod">
          <ac:chgData name="Wilson, Benjamin" userId="5e565093-9b03-48e6-8226-93d7b7cd3493" providerId="ADAL" clId="{53FF904F-3F5D-4AC0-AD5C-4276B4F956CF}" dt="2022-12-18T19:56:40.852" v="3709" actId="20577"/>
          <ac:spMkLst>
            <pc:docMk/>
            <pc:sldMk cId="1572791301" sldId="2141410974"/>
            <ac:spMk id="16" creationId="{5F79EDB7-A453-4FA7-5EAF-9788227D707C}"/>
          </ac:spMkLst>
        </pc:spChg>
        <pc:spChg chg="mod">
          <ac:chgData name="Wilson, Benjamin" userId="5e565093-9b03-48e6-8226-93d7b7cd3493" providerId="ADAL" clId="{53FF904F-3F5D-4AC0-AD5C-4276B4F956CF}" dt="2022-12-18T20:02:23.855" v="4295" actId="20577"/>
          <ac:spMkLst>
            <pc:docMk/>
            <pc:sldMk cId="1572791301" sldId="2141410974"/>
            <ac:spMk id="19" creationId="{0652A170-ECBB-DF95-7882-A43607621692}"/>
          </ac:spMkLst>
        </pc:spChg>
        <pc:spChg chg="mod">
          <ac:chgData name="Wilson, Benjamin" userId="5e565093-9b03-48e6-8226-93d7b7cd3493" providerId="ADAL" clId="{53FF904F-3F5D-4AC0-AD5C-4276B4F956CF}" dt="2022-12-18T19:56:07.154" v="3656" actId="207"/>
          <ac:spMkLst>
            <pc:docMk/>
            <pc:sldMk cId="1572791301" sldId="2141410974"/>
            <ac:spMk id="22" creationId="{BA2FCDB6-7AE7-EEF7-8477-49D5BA337A59}"/>
          </ac:spMkLst>
        </pc:spChg>
        <pc:spChg chg="mod">
          <ac:chgData name="Wilson, Benjamin" userId="5e565093-9b03-48e6-8226-93d7b7cd3493" providerId="ADAL" clId="{53FF904F-3F5D-4AC0-AD5C-4276B4F956CF}" dt="2022-12-18T20:04:09.602" v="4517" actId="208"/>
          <ac:spMkLst>
            <pc:docMk/>
            <pc:sldMk cId="1572791301" sldId="2141410974"/>
            <ac:spMk id="27" creationId="{9655FDE9-9294-D1F1-B399-AB2ADE2F429C}"/>
          </ac:spMkLst>
        </pc:spChg>
        <pc:spChg chg="mod">
          <ac:chgData name="Wilson, Benjamin" userId="5e565093-9b03-48e6-8226-93d7b7cd3493" providerId="ADAL" clId="{53FF904F-3F5D-4AC0-AD5C-4276B4F956CF}" dt="2022-12-18T20:04:29.523" v="4521" actId="207"/>
          <ac:spMkLst>
            <pc:docMk/>
            <pc:sldMk cId="1572791301" sldId="2141410974"/>
            <ac:spMk id="28" creationId="{20523CB8-A5E5-F14C-B824-F433BDEA12B1}"/>
          </ac:spMkLst>
        </pc:spChg>
        <pc:spChg chg="mod">
          <ac:chgData name="Wilson, Benjamin" userId="5e565093-9b03-48e6-8226-93d7b7cd3493" providerId="ADAL" clId="{53FF904F-3F5D-4AC0-AD5C-4276B4F956CF}" dt="2022-12-18T20:04:23.687" v="4520" actId="207"/>
          <ac:spMkLst>
            <pc:docMk/>
            <pc:sldMk cId="1572791301" sldId="2141410974"/>
            <ac:spMk id="29" creationId="{B6C249FB-9520-5402-E833-3973D000736D}"/>
          </ac:spMkLst>
        </pc:spChg>
        <pc:spChg chg="mod">
          <ac:chgData name="Wilson, Benjamin" userId="5e565093-9b03-48e6-8226-93d7b7cd3493" providerId="ADAL" clId="{53FF904F-3F5D-4AC0-AD5C-4276B4F956CF}" dt="2022-12-18T20:04:34.589" v="4523" actId="207"/>
          <ac:spMkLst>
            <pc:docMk/>
            <pc:sldMk cId="1572791301" sldId="2141410974"/>
            <ac:spMk id="30" creationId="{B602BA73-769E-E4AD-DBCE-989161EB8CB7}"/>
          </ac:spMkLst>
        </pc:spChg>
        <pc:spChg chg="mod">
          <ac:chgData name="Wilson, Benjamin" userId="5e565093-9b03-48e6-8226-93d7b7cd3493" providerId="ADAL" clId="{53FF904F-3F5D-4AC0-AD5C-4276B4F956CF}" dt="2022-12-18T20:04:37.302" v="4524" actId="207"/>
          <ac:spMkLst>
            <pc:docMk/>
            <pc:sldMk cId="1572791301" sldId="2141410974"/>
            <ac:spMk id="31" creationId="{F97E2008-3580-7B53-189D-EA85F05F69CF}"/>
          </ac:spMkLst>
        </pc:spChg>
        <pc:spChg chg="mod">
          <ac:chgData name="Wilson, Benjamin" userId="5e565093-9b03-48e6-8226-93d7b7cd3493" providerId="ADAL" clId="{53FF904F-3F5D-4AC0-AD5C-4276B4F956CF}" dt="2022-12-18T20:04:46.176" v="4527" actId="207"/>
          <ac:spMkLst>
            <pc:docMk/>
            <pc:sldMk cId="1572791301" sldId="2141410974"/>
            <ac:spMk id="32" creationId="{686D080A-903B-7FDF-6F4E-1177C4FA5533}"/>
          </ac:spMkLst>
        </pc:spChg>
        <pc:spChg chg="mod">
          <ac:chgData name="Wilson, Benjamin" userId="5e565093-9b03-48e6-8226-93d7b7cd3493" providerId="ADAL" clId="{53FF904F-3F5D-4AC0-AD5C-4276B4F956CF}" dt="2022-12-18T20:04:43.859" v="4526" actId="207"/>
          <ac:spMkLst>
            <pc:docMk/>
            <pc:sldMk cId="1572791301" sldId="2141410974"/>
            <ac:spMk id="33" creationId="{2B51EF59-D144-842A-BB00-945821A809B7}"/>
          </ac:spMkLst>
        </pc:spChg>
        <pc:spChg chg="mod">
          <ac:chgData name="Wilson, Benjamin" userId="5e565093-9b03-48e6-8226-93d7b7cd3493" providerId="ADAL" clId="{53FF904F-3F5D-4AC0-AD5C-4276B4F956CF}" dt="2022-12-18T20:04:51.914" v="4528" actId="207"/>
          <ac:spMkLst>
            <pc:docMk/>
            <pc:sldMk cId="1572791301" sldId="2141410974"/>
            <ac:spMk id="34" creationId="{8E1C38E5-5EF0-1E26-559E-807FF154748E}"/>
          </ac:spMkLst>
        </pc:spChg>
        <pc:spChg chg="mod">
          <ac:chgData name="Wilson, Benjamin" userId="5e565093-9b03-48e6-8226-93d7b7cd3493" providerId="ADAL" clId="{53FF904F-3F5D-4AC0-AD5C-4276B4F956CF}" dt="2022-12-18T20:04:17.591" v="4519" actId="207"/>
          <ac:spMkLst>
            <pc:docMk/>
            <pc:sldMk cId="1572791301" sldId="2141410974"/>
            <ac:spMk id="35" creationId="{9714DA92-A5D2-E917-3CD2-A494F6404E43}"/>
          </ac:spMkLst>
        </pc:spChg>
        <pc:spChg chg="mod">
          <ac:chgData name="Wilson, Benjamin" userId="5e565093-9b03-48e6-8226-93d7b7cd3493" providerId="ADAL" clId="{53FF904F-3F5D-4AC0-AD5C-4276B4F956CF}" dt="2022-12-18T20:04:39.951" v="4525" actId="207"/>
          <ac:spMkLst>
            <pc:docMk/>
            <pc:sldMk cId="1572791301" sldId="2141410974"/>
            <ac:spMk id="36" creationId="{BD0E2100-1118-1711-1535-B320D7E6BC52}"/>
          </ac:spMkLst>
        </pc:spChg>
        <pc:spChg chg="mod">
          <ac:chgData name="Wilson, Benjamin" userId="5e565093-9b03-48e6-8226-93d7b7cd3493" providerId="ADAL" clId="{53FF904F-3F5D-4AC0-AD5C-4276B4F956CF}" dt="2022-12-18T20:04:13.894" v="4518" actId="207"/>
          <ac:spMkLst>
            <pc:docMk/>
            <pc:sldMk cId="1572791301" sldId="2141410974"/>
            <ac:spMk id="37" creationId="{735DAE94-7D63-6F5D-793E-0D7E393F3A63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39" creationId="{8A9CB140-2FF3-54BF-4873-4B69DEC7CD42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0" creationId="{6074D336-4FC4-4E3C-25D2-003B4BC3B06A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1" creationId="{A560BF76-A13A-E3D8-4777-F10AAEFF1B31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2" creationId="{8EFC7EE9-BB28-0F6E-F6DC-635138D6E6F1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3" creationId="{54DB341B-750E-3154-D6AF-5EAADD5B3142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4" creationId="{26B4AA5E-2683-CA4F-4BC9-11E5618A1649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5" creationId="{A2D7BB33-BEB8-B970-0F3F-542262485472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6" creationId="{4E44A089-18E8-F0F5-7126-81FC028FBC58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7" creationId="{97D08096-97E6-EEA8-B834-A6285C910861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8" creationId="{DA768AA0-CB52-D88A-FE39-C7118D469032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49" creationId="{CB6AF276-7A00-0ED1-3743-C525894A2F03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0" creationId="{FAF108AD-E038-F6EE-0CE0-60C23BFED76F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1" creationId="{3719A1DA-89AD-ADCA-D506-BC3BF589B5E5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2" creationId="{C6382C0C-5B93-708D-EC56-6FCDFC4B9B41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3" creationId="{85A743BF-E020-4DD9-BBBA-3581F5C01754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4" creationId="{9A954D54-A828-55FF-F29D-B7423867B258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5" creationId="{FA8C2021-AF22-908C-C91B-1F0BC6897C0B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6" creationId="{194F6D54-866B-B7C7-4D53-546079BC0017}"/>
          </ac:spMkLst>
        </pc:spChg>
        <pc:spChg chg="mod">
          <ac:chgData name="Wilson, Benjamin" userId="5e565093-9b03-48e6-8226-93d7b7cd3493" providerId="ADAL" clId="{53FF904F-3F5D-4AC0-AD5C-4276B4F956CF}" dt="2022-12-18T20:05:56.362" v="4533" actId="14100"/>
          <ac:spMkLst>
            <pc:docMk/>
            <pc:sldMk cId="1572791301" sldId="2141410974"/>
            <ac:spMk id="57" creationId="{5FC9044D-1344-7C7B-6881-56A4542422A3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59" creationId="{C006303B-6286-0AFA-AAA8-185A9FE0F405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0" creationId="{08FF2A8F-8F62-F016-69BD-33A457D6095B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1" creationId="{84C63F9C-D48E-3F63-06CC-A0D7002EA6FA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2" creationId="{E67AFAD0-E6D3-2B10-3D55-C3F1AEF67EC6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3" creationId="{8B2ED893-A127-3D17-37FC-C55ED853F62E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4" creationId="{11662197-8D31-9D28-08D2-5466F1916C2B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5" creationId="{C3BDCF76-4722-E00C-AA8D-428EA0D11C50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6" creationId="{30987598-BC4C-4CCF-8762-DBDF92AC45F4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7" creationId="{9CA48D7A-4C77-D74A-F0CE-139C9369F826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8" creationId="{901E05E4-BEB2-96D9-D45C-165D65C97D57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69" creationId="{0FF04829-1048-845B-2BFE-A4403D25137D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0" creationId="{037937CF-7C3C-57DA-FEFA-AE4BAEBA97CB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1" creationId="{F05687E9-8B6D-2D97-8109-104B252E25AD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2" creationId="{CCC7EE34-C3C5-55EB-D782-C812C8A45562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3" creationId="{1EF9094A-CD00-603E-FEC9-5E13C2807EDD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4" creationId="{9F80AB7B-7252-AD4A-4508-D70D3108F931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5" creationId="{E99FE260-2B55-F054-F12C-EA946DE6D5A3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6" creationId="{E1E4AC33-39CF-6B1A-B5EF-3C331069A990}"/>
          </ac:spMkLst>
        </pc:spChg>
        <pc:spChg chg="mod">
          <ac:chgData name="Wilson, Benjamin" userId="5e565093-9b03-48e6-8226-93d7b7cd3493" providerId="ADAL" clId="{53FF904F-3F5D-4AC0-AD5C-4276B4F956CF}" dt="2022-12-18T20:06:12.898" v="4538" actId="1076"/>
          <ac:spMkLst>
            <pc:docMk/>
            <pc:sldMk cId="1572791301" sldId="2141410974"/>
            <ac:spMk id="77" creationId="{6D8F6D4C-5617-A0C5-BBF4-4E2E5A0AE6CD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79" creationId="{D2E030D3-22D3-9152-3141-3E73D04BDB4A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0" creationId="{DE5D5CA3-540B-41C9-CA6F-A0DA64D39EF2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1" creationId="{685DEF98-5B61-DE37-CB1D-482C5A75DD5D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2" creationId="{8DB375BE-0AC9-5274-5EE6-BAF899493C65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3" creationId="{279D35A0-AF6A-706C-5DE6-BB3199F625BB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4" creationId="{A0EEFEAA-AD5E-26AD-5FE5-0494FE77E1CD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5" creationId="{751C6296-C58E-540B-09C1-6A685FA46738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6" creationId="{F016AD3F-BC6D-3F96-E0ED-5641A8D9E8FF}"/>
          </ac:spMkLst>
        </pc:spChg>
        <pc:spChg chg="mod">
          <ac:chgData name="Wilson, Benjamin" userId="5e565093-9b03-48e6-8226-93d7b7cd3493" providerId="ADAL" clId="{53FF904F-3F5D-4AC0-AD5C-4276B4F956CF}" dt="2022-12-18T20:06:54.764" v="4542" actId="1076"/>
          <ac:spMkLst>
            <pc:docMk/>
            <pc:sldMk cId="1572791301" sldId="2141410974"/>
            <ac:spMk id="87" creationId="{DAB5ACAB-4DE2-A48A-371E-19AC28859F17}"/>
          </ac:spMkLst>
        </pc:spChg>
        <pc:grpChg chg="add mod">
          <ac:chgData name="Wilson, Benjamin" userId="5e565093-9b03-48e6-8226-93d7b7cd3493" providerId="ADAL" clId="{53FF904F-3F5D-4AC0-AD5C-4276B4F956CF}" dt="2022-12-18T19:55:26.206" v="3606"/>
          <ac:grpSpMkLst>
            <pc:docMk/>
            <pc:sldMk cId="1572791301" sldId="2141410974"/>
            <ac:grpSpMk id="12" creationId="{CFAF1B55-CA2D-B1F0-6456-EB253C0672DE}"/>
          </ac:grpSpMkLst>
        </pc:grpChg>
        <pc:grpChg chg="add mod">
          <ac:chgData name="Wilson, Benjamin" userId="5e565093-9b03-48e6-8226-93d7b7cd3493" providerId="ADAL" clId="{53FF904F-3F5D-4AC0-AD5C-4276B4F956CF}" dt="2022-12-18T19:55:26.206" v="3606"/>
          <ac:grpSpMkLst>
            <pc:docMk/>
            <pc:sldMk cId="1572791301" sldId="2141410974"/>
            <ac:grpSpMk id="15" creationId="{CC1E3DB2-E33C-43EF-F617-10E1BB67E40A}"/>
          </ac:grpSpMkLst>
        </pc:grpChg>
        <pc:grpChg chg="add mod">
          <ac:chgData name="Wilson, Benjamin" userId="5e565093-9b03-48e6-8226-93d7b7cd3493" providerId="ADAL" clId="{53FF904F-3F5D-4AC0-AD5C-4276B4F956CF}" dt="2022-12-18T19:55:26.206" v="3606"/>
          <ac:grpSpMkLst>
            <pc:docMk/>
            <pc:sldMk cId="1572791301" sldId="2141410974"/>
            <ac:grpSpMk id="18" creationId="{4553FE37-1423-B02C-731E-B39F5A37B63E}"/>
          </ac:grpSpMkLst>
        </pc:grpChg>
        <pc:grpChg chg="add mod">
          <ac:chgData name="Wilson, Benjamin" userId="5e565093-9b03-48e6-8226-93d7b7cd3493" providerId="ADAL" clId="{53FF904F-3F5D-4AC0-AD5C-4276B4F956CF}" dt="2022-12-18T19:55:26.206" v="3606"/>
          <ac:grpSpMkLst>
            <pc:docMk/>
            <pc:sldMk cId="1572791301" sldId="2141410974"/>
            <ac:grpSpMk id="21" creationId="{843270BE-C53C-0C00-A574-19263A4970A3}"/>
          </ac:grpSpMkLst>
        </pc:grpChg>
        <pc:grpChg chg="add mod">
          <ac:chgData name="Wilson, Benjamin" userId="5e565093-9b03-48e6-8226-93d7b7cd3493" providerId="ADAL" clId="{53FF904F-3F5D-4AC0-AD5C-4276B4F956CF}" dt="2022-12-18T20:04:05.657" v="4516" actId="207"/>
          <ac:grpSpMkLst>
            <pc:docMk/>
            <pc:sldMk cId="1572791301" sldId="2141410974"/>
            <ac:grpSpMk id="26" creationId="{2579250C-768F-967D-C2E4-4C2A207F0418}"/>
          </ac:grpSpMkLst>
        </pc:grpChg>
        <pc:grpChg chg="add del mod">
          <ac:chgData name="Wilson, Benjamin" userId="5e565093-9b03-48e6-8226-93d7b7cd3493" providerId="ADAL" clId="{53FF904F-3F5D-4AC0-AD5C-4276B4F956CF}" dt="2022-12-18T20:06:05.028" v="4534" actId="478"/>
          <ac:grpSpMkLst>
            <pc:docMk/>
            <pc:sldMk cId="1572791301" sldId="2141410974"/>
            <ac:grpSpMk id="38" creationId="{A4F9E41F-77F6-16F4-DF84-3E89783A060C}"/>
          </ac:grpSpMkLst>
        </pc:grpChg>
        <pc:grpChg chg="add mod">
          <ac:chgData name="Wilson, Benjamin" userId="5e565093-9b03-48e6-8226-93d7b7cd3493" providerId="ADAL" clId="{53FF904F-3F5D-4AC0-AD5C-4276B4F956CF}" dt="2022-12-18T20:06:12.898" v="4538" actId="1076"/>
          <ac:grpSpMkLst>
            <pc:docMk/>
            <pc:sldMk cId="1572791301" sldId="2141410974"/>
            <ac:grpSpMk id="58" creationId="{B0B5C695-6393-70D4-23CB-AA73798EDA4A}"/>
          </ac:grpSpMkLst>
        </pc:grpChg>
        <pc:grpChg chg="add mod">
          <ac:chgData name="Wilson, Benjamin" userId="5e565093-9b03-48e6-8226-93d7b7cd3493" providerId="ADAL" clId="{53FF904F-3F5D-4AC0-AD5C-4276B4F956CF}" dt="2022-12-18T20:06:58.152" v="4543" actId="208"/>
          <ac:grpSpMkLst>
            <pc:docMk/>
            <pc:sldMk cId="1572791301" sldId="2141410974"/>
            <ac:grpSpMk id="78" creationId="{D90A14DC-A4DA-C724-EF59-FFB9E04BB41A}"/>
          </ac:grpSpMkLst>
        </pc:grpChg>
        <pc:graphicFrameChg chg="add mod ord modVis replST">
          <ac:chgData name="Wilson, Benjamin" userId="5e565093-9b03-48e6-8226-93d7b7cd3493" providerId="ADAL" clId="{53FF904F-3F5D-4AC0-AD5C-4276B4F956CF}" dt="2022-12-18T19:55:10.676" v="3590"/>
          <ac:graphicFrameMkLst>
            <pc:docMk/>
            <pc:sldMk cId="1572791301" sldId="2141410974"/>
            <ac:graphicFrameMk id="7" creationId="{A6679EC2-F264-CEF1-08BA-46F0B71FC7D2}"/>
          </ac:graphicFrameMkLst>
        </pc:graphicFrameChg>
        <pc:picChg chg="add mod">
          <ac:chgData name="Wilson, Benjamin" userId="5e565093-9b03-48e6-8226-93d7b7cd3493" providerId="ADAL" clId="{53FF904F-3F5D-4AC0-AD5C-4276B4F956CF}" dt="2022-12-18T19:57:00.291" v="3712" actId="207"/>
          <ac:picMkLst>
            <pc:docMk/>
            <pc:sldMk cId="1572791301" sldId="2141410974"/>
            <ac:picMk id="24" creationId="{D6B60390-6051-E9B6-8F01-C4B37058B725}"/>
          </ac:picMkLst>
        </pc:picChg>
        <pc:picChg chg="add del mod">
          <ac:chgData name="Wilson, Benjamin" userId="5e565093-9b03-48e6-8226-93d7b7cd3493" providerId="ADAL" clId="{53FF904F-3F5D-4AC0-AD5C-4276B4F956CF}" dt="2022-12-18T20:00:46.174" v="4161" actId="478"/>
          <ac:picMkLst>
            <pc:docMk/>
            <pc:sldMk cId="1572791301" sldId="2141410974"/>
            <ac:picMk id="25" creationId="{90D9DFDE-388E-2E04-2259-8C63A698208A}"/>
          </ac:picMkLst>
        </pc:picChg>
        <pc:cxnChg chg="mod">
          <ac:chgData name="Wilson, Benjamin" userId="5e565093-9b03-48e6-8226-93d7b7cd3493" providerId="ADAL" clId="{53FF904F-3F5D-4AC0-AD5C-4276B4F956CF}" dt="2022-12-18T19:55:26.206" v="3606"/>
          <ac:cxnSpMkLst>
            <pc:docMk/>
            <pc:sldMk cId="1572791301" sldId="2141410974"/>
            <ac:cxnSpMk id="14" creationId="{21B46BE3-87A2-6E2B-EFD4-14C74B5260A3}"/>
          </ac:cxnSpMkLst>
        </pc:cxnChg>
        <pc:cxnChg chg="mod">
          <ac:chgData name="Wilson, Benjamin" userId="5e565093-9b03-48e6-8226-93d7b7cd3493" providerId="ADAL" clId="{53FF904F-3F5D-4AC0-AD5C-4276B4F956CF}" dt="2022-12-18T19:55:26.206" v="3606"/>
          <ac:cxnSpMkLst>
            <pc:docMk/>
            <pc:sldMk cId="1572791301" sldId="2141410974"/>
            <ac:cxnSpMk id="17" creationId="{5A5949B5-D434-27B4-F99D-6C929B3769CD}"/>
          </ac:cxnSpMkLst>
        </pc:cxnChg>
        <pc:cxnChg chg="mod">
          <ac:chgData name="Wilson, Benjamin" userId="5e565093-9b03-48e6-8226-93d7b7cd3493" providerId="ADAL" clId="{53FF904F-3F5D-4AC0-AD5C-4276B4F956CF}" dt="2022-12-18T19:55:26.206" v="3606"/>
          <ac:cxnSpMkLst>
            <pc:docMk/>
            <pc:sldMk cId="1572791301" sldId="2141410974"/>
            <ac:cxnSpMk id="20" creationId="{CE3C6DE3-04AE-1528-E579-0BD55F6DAD42}"/>
          </ac:cxnSpMkLst>
        </pc:cxnChg>
        <pc:cxnChg chg="mod">
          <ac:chgData name="Wilson, Benjamin" userId="5e565093-9b03-48e6-8226-93d7b7cd3493" providerId="ADAL" clId="{53FF904F-3F5D-4AC0-AD5C-4276B4F956CF}" dt="2022-12-18T19:55:26.206" v="3606"/>
          <ac:cxnSpMkLst>
            <pc:docMk/>
            <pc:sldMk cId="1572791301" sldId="2141410974"/>
            <ac:cxnSpMk id="23" creationId="{F49B6FC4-6B83-9526-FAFE-DDD3EED433E7}"/>
          </ac:cxnSpMkLst>
        </pc:cxnChg>
      </pc:sldChg>
      <pc:sldChg chg="addSp delSp modSp mod ord">
        <pc:chgData name="Wilson, Benjamin" userId="5e565093-9b03-48e6-8226-93d7b7cd3493" providerId="ADAL" clId="{53FF904F-3F5D-4AC0-AD5C-4276B4F956CF}" dt="2022-12-18T22:29:23.681" v="7056" actId="20577"/>
        <pc:sldMkLst>
          <pc:docMk/>
          <pc:sldMk cId="3633554423" sldId="2141410975"/>
        </pc:sldMkLst>
        <pc:spChg chg="mod">
          <ac:chgData name="Wilson, Benjamin" userId="5e565093-9b03-48e6-8226-93d7b7cd3493" providerId="ADAL" clId="{53FF904F-3F5D-4AC0-AD5C-4276B4F956CF}" dt="2022-12-18T22:29:23.681" v="7056" actId="20577"/>
          <ac:spMkLst>
            <pc:docMk/>
            <pc:sldMk cId="3633554423" sldId="2141410975"/>
            <ac:spMk id="2" creationId="{0F089093-D801-0139-FB7E-65D72CF72D5D}"/>
          </ac:spMkLst>
        </pc:spChg>
        <pc:spChg chg="del mod">
          <ac:chgData name="Wilson, Benjamin" userId="5e565093-9b03-48e6-8226-93d7b7cd3493" providerId="ADAL" clId="{53FF904F-3F5D-4AC0-AD5C-4276B4F956CF}" dt="2022-12-18T22:03:39.251" v="4994" actId="478"/>
          <ac:spMkLst>
            <pc:docMk/>
            <pc:sldMk cId="3633554423" sldId="2141410975"/>
            <ac:spMk id="3" creationId="{659E79E2-A8AE-EDFF-155E-6024FA803DF4}"/>
          </ac:spMkLst>
        </pc:spChg>
        <pc:spChg chg="add del mod modVis">
          <ac:chgData name="Wilson, Benjamin" userId="5e565093-9b03-48e6-8226-93d7b7cd3493" providerId="ADAL" clId="{53FF904F-3F5D-4AC0-AD5C-4276B4F956CF}" dt="2022-12-18T22:03:30.115" v="4975"/>
          <ac:spMkLst>
            <pc:docMk/>
            <pc:sldMk cId="3633554423" sldId="2141410975"/>
            <ac:spMk id="4" creationId="{EFE6087E-105E-F687-66AE-3A3A64FCF808}"/>
          </ac:spMkLst>
        </pc:spChg>
        <pc:spChg chg="add mod">
          <ac:chgData name="Wilson, Benjamin" userId="5e565093-9b03-48e6-8226-93d7b7cd3493" providerId="ADAL" clId="{53FF904F-3F5D-4AC0-AD5C-4276B4F956CF}" dt="2022-12-18T22:24:36.944" v="6657" actId="20577"/>
          <ac:spMkLst>
            <pc:docMk/>
            <pc:sldMk cId="3633554423" sldId="2141410975"/>
            <ac:spMk id="6" creationId="{B93663E6-2E51-F0E6-1B94-3F90E949D89E}"/>
          </ac:spMkLst>
        </pc:spChg>
        <pc:spChg chg="add mod">
          <ac:chgData name="Wilson, Benjamin" userId="5e565093-9b03-48e6-8226-93d7b7cd3493" providerId="ADAL" clId="{53FF904F-3F5D-4AC0-AD5C-4276B4F956CF}" dt="2022-12-18T22:24:28.484" v="6628" actId="20577"/>
          <ac:spMkLst>
            <pc:docMk/>
            <pc:sldMk cId="3633554423" sldId="2141410975"/>
            <ac:spMk id="7" creationId="{E590C11C-0C74-7A04-A111-9576D177EF7F}"/>
          </ac:spMkLst>
        </pc:spChg>
        <pc:spChg chg="add del mod">
          <ac:chgData name="Wilson, Benjamin" userId="5e565093-9b03-48e6-8226-93d7b7cd3493" providerId="ADAL" clId="{53FF904F-3F5D-4AC0-AD5C-4276B4F956CF}" dt="2022-12-18T22:03:42.882" v="4999" actId="478"/>
          <ac:spMkLst>
            <pc:docMk/>
            <pc:sldMk cId="3633554423" sldId="2141410975"/>
            <ac:spMk id="9" creationId="{6139A6D1-6626-84F8-EA06-680F2B7C47D7}"/>
          </ac:spMkLst>
        </pc:spChg>
        <pc:spChg chg="add del mod">
          <ac:chgData name="Wilson, Benjamin" userId="5e565093-9b03-48e6-8226-93d7b7cd3493" providerId="ADAL" clId="{53FF904F-3F5D-4AC0-AD5C-4276B4F956CF}" dt="2022-12-18T22:07:57.738" v="5185" actId="478"/>
          <ac:spMkLst>
            <pc:docMk/>
            <pc:sldMk cId="3633554423" sldId="2141410975"/>
            <ac:spMk id="10" creationId="{2AB7BD94-26AE-468A-C8AD-8ED18A6C3A49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2:03:43.409" v="5003"/>
          <ac:graphicFrameMkLst>
            <pc:docMk/>
            <pc:sldMk cId="3633554423" sldId="2141410975"/>
            <ac:graphicFrameMk id="5" creationId="{FA219161-3509-43C4-E1BC-FD105E1E8DB2}"/>
          </ac:graphicFrameMkLst>
        </pc:graphicFrameChg>
      </pc:sldChg>
      <pc:sldChg chg="addSp delSp modSp new add del mod ord">
        <pc:chgData name="Wilson, Benjamin" userId="5e565093-9b03-48e6-8226-93d7b7cd3493" providerId="ADAL" clId="{53FF904F-3F5D-4AC0-AD5C-4276B4F956CF}" dt="2022-12-18T21:55:51.841" v="4675" actId="2696"/>
        <pc:sldMkLst>
          <pc:docMk/>
          <pc:sldMk cId="323282783" sldId="2141410976"/>
        </pc:sldMkLst>
        <pc:spChg chg="del">
          <ac:chgData name="Wilson, Benjamin" userId="5e565093-9b03-48e6-8226-93d7b7cd3493" providerId="ADAL" clId="{53FF904F-3F5D-4AC0-AD5C-4276B4F956CF}" dt="2022-12-18T21:54:14.557" v="4600" actId="478"/>
          <ac:spMkLst>
            <pc:docMk/>
            <pc:sldMk cId="323282783" sldId="2141410976"/>
            <ac:spMk id="2" creationId="{F1D24E71-2E2B-634B-99C4-58D319CCF152}"/>
          </ac:spMkLst>
        </pc:spChg>
        <pc:spChg chg="mod">
          <ac:chgData name="Wilson, Benjamin" userId="5e565093-9b03-48e6-8226-93d7b7cd3493" providerId="ADAL" clId="{53FF904F-3F5D-4AC0-AD5C-4276B4F956CF}" dt="2022-12-18T21:54:37.372" v="4610" actId="948"/>
          <ac:spMkLst>
            <pc:docMk/>
            <pc:sldMk cId="323282783" sldId="2141410976"/>
            <ac:spMk id="3" creationId="{0CB0A25A-A74E-92F9-F907-AE8D1B9008F6}"/>
          </ac:spMkLst>
        </pc:spChg>
        <pc:spChg chg="mod">
          <ac:chgData name="Wilson, Benjamin" userId="5e565093-9b03-48e6-8226-93d7b7cd3493" providerId="ADAL" clId="{53FF904F-3F5D-4AC0-AD5C-4276B4F956CF}" dt="2022-12-18T21:54:23.579" v="4603" actId="20577"/>
          <ac:spMkLst>
            <pc:docMk/>
            <pc:sldMk cId="323282783" sldId="2141410976"/>
            <ac:spMk id="4" creationId="{D6504F37-22C9-CB5A-DB17-EAAF810BF393}"/>
          </ac:spMkLst>
        </pc:spChg>
        <pc:spChg chg="del">
          <ac:chgData name="Wilson, Benjamin" userId="5e565093-9b03-48e6-8226-93d7b7cd3493" providerId="ADAL" clId="{53FF904F-3F5D-4AC0-AD5C-4276B4F956CF}" dt="2022-12-18T21:54:16.010" v="4601" actId="478"/>
          <ac:spMkLst>
            <pc:docMk/>
            <pc:sldMk cId="323282783" sldId="2141410976"/>
            <ac:spMk id="5" creationId="{117240E4-9F9E-03C4-95D2-797A71465142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6" creationId="{5E4A4B66-8D40-A1C8-742F-A76470544397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7" creationId="{BBB2B6A7-E351-30EC-F84E-AC7FE6B9DC33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8" creationId="{880452FB-69FA-C13D-E42C-FCDC21DB5E13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9" creationId="{DE65B893-4037-7464-B541-B4722B176B27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10" creationId="{F4592D62-20E0-0047-7E96-94F2E33459F1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17" creationId="{5E2C74DA-061F-C873-617B-DDF0BA08BD1C}"/>
          </ac:spMkLst>
        </pc:spChg>
        <pc:spChg chg="add del mod">
          <ac:chgData name="Wilson, Benjamin" userId="5e565093-9b03-48e6-8226-93d7b7cd3493" providerId="ADAL" clId="{53FF904F-3F5D-4AC0-AD5C-4276B4F956CF}" dt="2022-12-18T21:55:27.310" v="4674" actId="478"/>
          <ac:spMkLst>
            <pc:docMk/>
            <pc:sldMk cId="323282783" sldId="2141410976"/>
            <ac:spMk id="24" creationId="{0690205B-B41A-CCCC-1D22-55DC31AA74E2}"/>
          </ac:spMkLst>
        </pc:spChg>
        <pc:spChg chg="add del mod modVis">
          <ac:chgData name="Wilson, Benjamin" userId="5e565093-9b03-48e6-8226-93d7b7cd3493" providerId="ADAL" clId="{53FF904F-3F5D-4AC0-AD5C-4276B4F956CF}" dt="2022-12-18T21:54:37.407" v="4651"/>
          <ac:spMkLst>
            <pc:docMk/>
            <pc:sldMk cId="323282783" sldId="2141410976"/>
            <ac:spMk id="25" creationId="{7648AC76-9C75-1FE0-6AB0-8BA063A3D862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1:54:37.473" v="4667"/>
          <ac:graphicFrameMkLst>
            <pc:docMk/>
            <pc:sldMk cId="323282783" sldId="2141410976"/>
            <ac:graphicFrameMk id="26" creationId="{E8F28015-D8B2-1166-0073-DE1983FB5370}"/>
          </ac:graphicFrameMkLst>
        </pc:graphicFrame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1" creationId="{085EC32F-642D-ABDD-AB3B-087B52F1622F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2" creationId="{975F4554-97CA-286E-50D9-4D8E51DBB6FA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3" creationId="{124A3477-5FC4-0E82-75AA-F42833A64C18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4" creationId="{54B22EFE-B9BF-C6B9-9450-941536DD59B0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5" creationId="{EA795B6A-DDDC-CE4F-6A93-4E07A09E27CB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6" creationId="{13D51EDF-29F6-BFBB-612A-99232499F1D6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8" creationId="{E66726FA-49C9-AC03-B467-33DFB03325A5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19" creationId="{691C9E3C-A709-6048-6C3F-26B5B8AB5B2A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20" creationId="{7CFD063B-3707-CC5D-036C-3EEF8626B4CF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21" creationId="{161B9DA9-11B1-F2E8-898C-15579210076C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22" creationId="{B40B6930-F85A-361E-185E-9D7D034AE95F}"/>
          </ac:picMkLst>
        </pc:picChg>
        <pc:picChg chg="add del mod">
          <ac:chgData name="Wilson, Benjamin" userId="5e565093-9b03-48e6-8226-93d7b7cd3493" providerId="ADAL" clId="{53FF904F-3F5D-4AC0-AD5C-4276B4F956CF}" dt="2022-12-18T21:55:27.310" v="4674" actId="478"/>
          <ac:picMkLst>
            <pc:docMk/>
            <pc:sldMk cId="323282783" sldId="2141410976"/>
            <ac:picMk id="23" creationId="{E53135B8-73AC-6E78-7DED-E78641E0D62D}"/>
          </ac:picMkLst>
        </pc:picChg>
      </pc:sldChg>
      <pc:sldChg chg="addSp delSp modSp new add del mod">
        <pc:chgData name="Wilson, Benjamin" userId="5e565093-9b03-48e6-8226-93d7b7cd3493" providerId="ADAL" clId="{53FF904F-3F5D-4AC0-AD5C-4276B4F956CF}" dt="2022-12-18T21:57:21.772" v="4690" actId="2696"/>
        <pc:sldMkLst>
          <pc:docMk/>
          <pc:sldMk cId="1492346908" sldId="2141410976"/>
        </pc:sldMkLst>
        <pc:spChg chg="del">
          <ac:chgData name="Wilson, Benjamin" userId="5e565093-9b03-48e6-8226-93d7b7cd3493" providerId="ADAL" clId="{53FF904F-3F5D-4AC0-AD5C-4276B4F956CF}" dt="2022-12-18T21:57:13.989" v="4688" actId="478"/>
          <ac:spMkLst>
            <pc:docMk/>
            <pc:sldMk cId="1492346908" sldId="2141410976"/>
            <ac:spMk id="2" creationId="{DB196B0E-83CF-3BF3-CB06-F6CBE3FAD881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6" creationId="{9F795BBD-19C8-A2CE-646B-CBFD4A49C609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7" creationId="{0D79AFF4-8129-B793-7C7A-B4A44550D4B2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8" creationId="{CDDF9C6A-16BE-950F-C10C-96A0AFE3F3C0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9" creationId="{716A3BD3-0C59-2D2E-0FF2-D5228B10CA8D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10" creationId="{C337BE97-9B65-152F-C4D1-38966B4A2B29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16" creationId="{E300EAB0-3EF6-7907-72E6-F355BA14BD00}"/>
          </ac:spMkLst>
        </pc:spChg>
        <pc:spChg chg="add mod">
          <ac:chgData name="Wilson, Benjamin" userId="5e565093-9b03-48e6-8226-93d7b7cd3493" providerId="ADAL" clId="{53FF904F-3F5D-4AC0-AD5C-4276B4F956CF}" dt="2022-12-18T21:57:18.009" v="4689"/>
          <ac:spMkLst>
            <pc:docMk/>
            <pc:sldMk cId="1492346908" sldId="2141410976"/>
            <ac:spMk id="19" creationId="{4DB1CFF8-DE49-CB12-C304-0EB20655ADA0}"/>
          </ac:spMkLst>
        </pc:sp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1" creationId="{2C7A3187-C06A-7C80-7FF9-EAAC0AAF985B}"/>
          </ac:picMkLst>
        </pc:pic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2" creationId="{B08798C5-33F0-4190-84A4-6D12AEDB37C9}"/>
          </ac:picMkLst>
        </pc:pic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3" creationId="{9D12E1E2-D7CE-DCDD-29E1-542C6C68B35B}"/>
          </ac:picMkLst>
        </pc:pic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4" creationId="{2FC10980-C6A5-E1C2-A096-F0780168FC31}"/>
          </ac:picMkLst>
        </pc:pic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5" creationId="{A69A9B68-DB31-A66E-0287-B0CA72AAB3F8}"/>
          </ac:picMkLst>
        </pc:pic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7" creationId="{823EB9D9-59E2-21F5-E624-AFD170EF9B8B}"/>
          </ac:picMkLst>
        </pc:picChg>
        <pc:picChg chg="add mod">
          <ac:chgData name="Wilson, Benjamin" userId="5e565093-9b03-48e6-8226-93d7b7cd3493" providerId="ADAL" clId="{53FF904F-3F5D-4AC0-AD5C-4276B4F956CF}" dt="2022-12-18T21:57:18.009" v="4689"/>
          <ac:picMkLst>
            <pc:docMk/>
            <pc:sldMk cId="1492346908" sldId="2141410976"/>
            <ac:picMk id="18" creationId="{ACC2D1CE-5D9F-DAA2-D8ED-DA4F95113826}"/>
          </ac:picMkLst>
        </pc:picChg>
      </pc:sldChg>
      <pc:sldChg chg="addSp delSp modSp add mod">
        <pc:chgData name="Wilson, Benjamin" userId="5e565093-9b03-48e6-8226-93d7b7cd3493" providerId="ADAL" clId="{53FF904F-3F5D-4AC0-AD5C-4276B4F956CF}" dt="2022-12-18T22:18:23.157" v="6126" actId="20577"/>
        <pc:sldMkLst>
          <pc:docMk/>
          <pc:sldMk cId="3083855159" sldId="2141410976"/>
        </pc:sldMkLst>
        <pc:spChg chg="add del mod">
          <ac:chgData name="Wilson, Benjamin" userId="5e565093-9b03-48e6-8226-93d7b7cd3493" providerId="ADAL" clId="{53FF904F-3F5D-4AC0-AD5C-4276B4F956CF}" dt="2022-12-18T22:00:05.887" v="4797" actId="478"/>
          <ac:spMkLst>
            <pc:docMk/>
            <pc:sldMk cId="3083855159" sldId="2141410976"/>
            <ac:spMk id="3" creationId="{3F290DA1-A9C8-08A8-5487-83F009D3183A}"/>
          </ac:spMkLst>
        </pc:spChg>
        <pc:spChg chg="del">
          <ac:chgData name="Wilson, Benjamin" userId="5e565093-9b03-48e6-8226-93d7b7cd3493" providerId="ADAL" clId="{53FF904F-3F5D-4AC0-AD5C-4276B4F956CF}" dt="2022-12-18T22:00:07.736" v="4798" actId="478"/>
          <ac:spMkLst>
            <pc:docMk/>
            <pc:sldMk cId="3083855159" sldId="2141410976"/>
            <ac:spMk id="6" creationId="{2236D48B-C0A3-6727-1EF3-ABE9A009E8F3}"/>
          </ac:spMkLst>
        </pc:spChg>
        <pc:spChg chg="mod">
          <ac:chgData name="Wilson, Benjamin" userId="5e565093-9b03-48e6-8226-93d7b7cd3493" providerId="ADAL" clId="{53FF904F-3F5D-4AC0-AD5C-4276B4F956CF}" dt="2022-12-18T22:18:23.157" v="6126" actId="20577"/>
          <ac:spMkLst>
            <pc:docMk/>
            <pc:sldMk cId="3083855159" sldId="2141410976"/>
            <ac:spMk id="7" creationId="{6C411B62-E525-F606-3AC0-C2505DD71243}"/>
          </ac:spMkLst>
        </pc:spChg>
        <pc:spChg chg="mod">
          <ac:chgData name="Wilson, Benjamin" userId="5e565093-9b03-48e6-8226-93d7b7cd3493" providerId="ADAL" clId="{53FF904F-3F5D-4AC0-AD5C-4276B4F956CF}" dt="2022-12-18T22:02:55.906" v="4921" actId="20577"/>
          <ac:spMkLst>
            <pc:docMk/>
            <pc:sldMk cId="3083855159" sldId="2141410976"/>
            <ac:spMk id="13" creationId="{50901FDA-324E-20D2-6631-91DE9BB662BE}"/>
          </ac:spMkLst>
        </pc:spChg>
        <pc:spChg chg="add mod">
          <ac:chgData name="Wilson, Benjamin" userId="5e565093-9b03-48e6-8226-93d7b7cd3493" providerId="ADAL" clId="{53FF904F-3F5D-4AC0-AD5C-4276B4F956CF}" dt="2022-12-18T22:02:43.968" v="4910" actId="113"/>
          <ac:spMkLst>
            <pc:docMk/>
            <pc:sldMk cId="3083855159" sldId="2141410976"/>
            <ac:spMk id="15" creationId="{38B5F55B-E4A1-BD99-F4FA-7749856B44DD}"/>
          </ac:spMkLst>
        </pc:spChg>
        <pc:spChg chg="mod">
          <ac:chgData name="Wilson, Benjamin" userId="5e565093-9b03-48e6-8226-93d7b7cd3493" providerId="ADAL" clId="{53FF904F-3F5D-4AC0-AD5C-4276B4F956CF}" dt="2022-12-18T22:00:09.370" v="4799"/>
          <ac:spMkLst>
            <pc:docMk/>
            <pc:sldMk cId="3083855159" sldId="2141410976"/>
            <ac:spMk id="19" creationId="{8C3DAD99-CF9F-DA40-37FC-200FA2BF3D43}"/>
          </ac:spMkLst>
        </pc:spChg>
        <pc:spChg chg="mod">
          <ac:chgData name="Wilson, Benjamin" userId="5e565093-9b03-48e6-8226-93d7b7cd3493" providerId="ADAL" clId="{53FF904F-3F5D-4AC0-AD5C-4276B4F956CF}" dt="2022-12-18T22:00:09.370" v="4799"/>
          <ac:spMkLst>
            <pc:docMk/>
            <pc:sldMk cId="3083855159" sldId="2141410976"/>
            <ac:spMk id="20" creationId="{3C5CFA84-83DE-8A89-424B-D9CBF0C600F2}"/>
          </ac:spMkLst>
        </pc:spChg>
        <pc:grpChg chg="add mod">
          <ac:chgData name="Wilson, Benjamin" userId="5e565093-9b03-48e6-8226-93d7b7cd3493" providerId="ADAL" clId="{53FF904F-3F5D-4AC0-AD5C-4276B4F956CF}" dt="2022-12-18T22:00:09.370" v="4799"/>
          <ac:grpSpMkLst>
            <pc:docMk/>
            <pc:sldMk cId="3083855159" sldId="2141410976"/>
            <ac:grpSpMk id="5" creationId="{E9276B28-3C02-2817-D9A4-25AF175D3F5E}"/>
          </ac:grpSpMkLst>
        </pc:grpChg>
        <pc:grpChg chg="add mod">
          <ac:chgData name="Wilson, Benjamin" userId="5e565093-9b03-48e6-8226-93d7b7cd3493" providerId="ADAL" clId="{53FF904F-3F5D-4AC0-AD5C-4276B4F956CF}" dt="2022-12-18T22:00:09.370" v="4799"/>
          <ac:grpSpMkLst>
            <pc:docMk/>
            <pc:sldMk cId="3083855159" sldId="2141410976"/>
            <ac:grpSpMk id="12" creationId="{928D6A7B-85AA-21BE-6203-62AE576C09DA}"/>
          </ac:grpSpMkLst>
        </pc:grpChg>
        <pc:grpChg chg="add mod">
          <ac:chgData name="Wilson, Benjamin" userId="5e565093-9b03-48e6-8226-93d7b7cd3493" providerId="ADAL" clId="{53FF904F-3F5D-4AC0-AD5C-4276B4F956CF}" dt="2022-12-18T22:00:09.370" v="4799"/>
          <ac:grpSpMkLst>
            <pc:docMk/>
            <pc:sldMk cId="3083855159" sldId="2141410976"/>
            <ac:grpSpMk id="16" creationId="{28DB2976-18C0-39CB-4858-EEB0ACA24EAC}"/>
          </ac:grpSpMkLst>
        </pc:grpChg>
        <pc:grpChg chg="mod">
          <ac:chgData name="Wilson, Benjamin" userId="5e565093-9b03-48e6-8226-93d7b7cd3493" providerId="ADAL" clId="{53FF904F-3F5D-4AC0-AD5C-4276B4F956CF}" dt="2022-12-18T22:00:09.370" v="4799"/>
          <ac:grpSpMkLst>
            <pc:docMk/>
            <pc:sldMk cId="3083855159" sldId="2141410976"/>
            <ac:grpSpMk id="18" creationId="{FDED8967-BD49-0813-A952-D7204943988A}"/>
          </ac:grpSpMkLst>
        </pc:grpChg>
        <pc:picChg chg="del">
          <ac:chgData name="Wilson, Benjamin" userId="5e565093-9b03-48e6-8226-93d7b7cd3493" providerId="ADAL" clId="{53FF904F-3F5D-4AC0-AD5C-4276B4F956CF}" dt="2022-12-18T22:00:04.040" v="4796" actId="478"/>
          <ac:picMkLst>
            <pc:docMk/>
            <pc:sldMk cId="3083855159" sldId="2141410976"/>
            <ac:picMk id="4" creationId="{C7F8DE8B-9F8F-3FFD-227E-53CFF0323128}"/>
          </ac:picMkLst>
        </pc:picChg>
        <pc:picChg chg="add mod">
          <ac:chgData name="Wilson, Benjamin" userId="5e565093-9b03-48e6-8226-93d7b7cd3493" providerId="ADAL" clId="{53FF904F-3F5D-4AC0-AD5C-4276B4F956CF}" dt="2022-12-18T22:00:25.241" v="4812" actId="1076"/>
          <ac:picMkLst>
            <pc:docMk/>
            <pc:sldMk cId="3083855159" sldId="2141410976"/>
            <ac:picMk id="21" creationId="{7318B9FE-FCF0-91C7-B02D-52D6AE86FE6A}"/>
          </ac:picMkLst>
        </pc:picChg>
        <pc:cxnChg chg="mod">
          <ac:chgData name="Wilson, Benjamin" userId="5e565093-9b03-48e6-8226-93d7b7cd3493" providerId="ADAL" clId="{53FF904F-3F5D-4AC0-AD5C-4276B4F956CF}" dt="2022-12-18T22:00:09.370" v="4799"/>
          <ac:cxnSpMkLst>
            <pc:docMk/>
            <pc:sldMk cId="3083855159" sldId="2141410976"/>
            <ac:cxnSpMk id="11" creationId="{81EB8877-3EDB-95E6-CA76-02B4A3EC24E0}"/>
          </ac:cxnSpMkLst>
        </pc:cxnChg>
        <pc:cxnChg chg="mod">
          <ac:chgData name="Wilson, Benjamin" userId="5e565093-9b03-48e6-8226-93d7b7cd3493" providerId="ADAL" clId="{53FF904F-3F5D-4AC0-AD5C-4276B4F956CF}" dt="2022-12-18T22:00:09.370" v="4799"/>
          <ac:cxnSpMkLst>
            <pc:docMk/>
            <pc:sldMk cId="3083855159" sldId="2141410976"/>
            <ac:cxnSpMk id="14" creationId="{1DDA736B-7DA3-3321-37E4-E60B7543D493}"/>
          </ac:cxnSpMkLst>
        </pc:cxnChg>
        <pc:cxnChg chg="mod">
          <ac:chgData name="Wilson, Benjamin" userId="5e565093-9b03-48e6-8226-93d7b7cd3493" providerId="ADAL" clId="{53FF904F-3F5D-4AC0-AD5C-4276B4F956CF}" dt="2022-12-18T22:00:09.370" v="4799"/>
          <ac:cxnSpMkLst>
            <pc:docMk/>
            <pc:sldMk cId="3083855159" sldId="2141410976"/>
            <ac:cxnSpMk id="17" creationId="{B0B984DE-5A09-C4B7-6973-3072767BF863}"/>
          </ac:cxnSpMkLst>
        </pc:cxnChg>
      </pc:sldChg>
      <pc:sldChg chg="addSp add del mod">
        <pc:chgData name="Wilson, Benjamin" userId="5e565093-9b03-48e6-8226-93d7b7cd3493" providerId="ADAL" clId="{53FF904F-3F5D-4AC0-AD5C-4276B4F956CF}" dt="2022-12-18T22:36:43.807" v="7207" actId="2696"/>
        <pc:sldMkLst>
          <pc:docMk/>
          <pc:sldMk cId="1598934215" sldId="2141410977"/>
        </pc:sldMkLst>
        <pc:picChg chg="add">
          <ac:chgData name="Wilson, Benjamin" userId="5e565093-9b03-48e6-8226-93d7b7cd3493" providerId="ADAL" clId="{53FF904F-3F5D-4AC0-AD5C-4276B4F956CF}" dt="2022-12-18T22:34:15.310" v="7060"/>
          <ac:picMkLst>
            <pc:docMk/>
            <pc:sldMk cId="1598934215" sldId="2141410977"/>
            <ac:picMk id="7" creationId="{457716B7-7420-EF63-1701-F26F5A7867AF}"/>
          </ac:picMkLst>
        </pc:picChg>
      </pc:sldChg>
      <pc:sldChg chg="addSp delSp modSp add mod ord">
        <pc:chgData name="Wilson, Benjamin" userId="5e565093-9b03-48e6-8226-93d7b7cd3493" providerId="ADAL" clId="{53FF904F-3F5D-4AC0-AD5C-4276B4F956CF}" dt="2022-12-18T22:37:01.074" v="7222" actId="20577"/>
        <pc:sldMkLst>
          <pc:docMk/>
          <pc:sldMk cId="3974860720" sldId="2141410978"/>
        </pc:sldMkLst>
        <pc:spChg chg="add del mod">
          <ac:chgData name="Wilson, Benjamin" userId="5e565093-9b03-48e6-8226-93d7b7cd3493" providerId="ADAL" clId="{53FF904F-3F5D-4AC0-AD5C-4276B4F956CF}" dt="2022-12-18T22:34:51.857" v="7096" actId="478"/>
          <ac:spMkLst>
            <pc:docMk/>
            <pc:sldMk cId="3974860720" sldId="2141410978"/>
            <ac:spMk id="2" creationId="{C519122E-97B5-79BB-BA10-50160EDC092F}"/>
          </ac:spMkLst>
        </pc:spChg>
        <pc:spChg chg="mod">
          <ac:chgData name="Wilson, Benjamin" userId="5e565093-9b03-48e6-8226-93d7b7cd3493" providerId="ADAL" clId="{53FF904F-3F5D-4AC0-AD5C-4276B4F956CF}" dt="2022-12-18T22:34:37.954" v="7080" actId="20577"/>
          <ac:spMkLst>
            <pc:docMk/>
            <pc:sldMk cId="3974860720" sldId="2141410978"/>
            <ac:spMk id="4" creationId="{2C6145CE-3C7F-3704-D7D3-EE51FE312C71}"/>
          </ac:spMkLst>
        </pc:spChg>
        <pc:spChg chg="add del mod modVis">
          <ac:chgData name="Wilson, Benjamin" userId="5e565093-9b03-48e6-8226-93d7b7cd3493" providerId="ADAL" clId="{53FF904F-3F5D-4AC0-AD5C-4276B4F956CF}" dt="2022-12-18T22:36:40.707" v="7204"/>
          <ac:spMkLst>
            <pc:docMk/>
            <pc:sldMk cId="3974860720" sldId="2141410978"/>
            <ac:spMk id="5" creationId="{D69AE8D6-C5E1-9881-5A74-C85571577541}"/>
          </ac:spMkLst>
        </pc:spChg>
        <pc:spChg chg="mod">
          <ac:chgData name="Wilson, Benjamin" userId="5e565093-9b03-48e6-8226-93d7b7cd3493" providerId="ADAL" clId="{53FF904F-3F5D-4AC0-AD5C-4276B4F956CF}" dt="2022-12-18T22:36:57.143" v="7211" actId="20577"/>
          <ac:spMkLst>
            <pc:docMk/>
            <pc:sldMk cId="3974860720" sldId="2141410978"/>
            <ac:spMk id="9" creationId="{851A5DA7-5FD1-98F2-E078-A95D27415FF5}"/>
          </ac:spMkLst>
        </pc:spChg>
        <pc:spChg chg="mod">
          <ac:chgData name="Wilson, Benjamin" userId="5e565093-9b03-48e6-8226-93d7b7cd3493" providerId="ADAL" clId="{53FF904F-3F5D-4AC0-AD5C-4276B4F956CF}" dt="2022-12-18T22:37:01.074" v="7222" actId="20577"/>
          <ac:spMkLst>
            <pc:docMk/>
            <pc:sldMk cId="3974860720" sldId="2141410978"/>
            <ac:spMk id="12" creationId="{92A783DD-2DF0-0A75-8A47-A55C4AA27B8F}"/>
          </ac:spMkLst>
        </pc:spChg>
        <pc:spChg chg="del">
          <ac:chgData name="Wilson, Benjamin" userId="5e565093-9b03-48e6-8226-93d7b7cd3493" providerId="ADAL" clId="{53FF904F-3F5D-4AC0-AD5C-4276B4F956CF}" dt="2022-12-18T22:34:43.807" v="7088" actId="478"/>
          <ac:spMkLst>
            <pc:docMk/>
            <pc:sldMk cId="3974860720" sldId="2141410978"/>
            <ac:spMk id="27" creationId="{9AB9800E-C68B-C995-4FC1-25BB33658AD5}"/>
          </ac:spMkLst>
        </pc:spChg>
        <pc:spChg chg="mod">
          <ac:chgData name="Wilson, Benjamin" userId="5e565093-9b03-48e6-8226-93d7b7cd3493" providerId="ADAL" clId="{53FF904F-3F5D-4AC0-AD5C-4276B4F956CF}" dt="2022-12-18T22:35:54.129" v="7124" actId="1076"/>
          <ac:spMkLst>
            <pc:docMk/>
            <pc:sldMk cId="3974860720" sldId="2141410978"/>
            <ac:spMk id="28" creationId="{E93753FD-7F47-57FB-4282-2DD3A6732B3E}"/>
          </ac:spMkLst>
        </pc:spChg>
        <pc:spChg chg="add del mod topLvl">
          <ac:chgData name="Wilson, Benjamin" userId="5e565093-9b03-48e6-8226-93d7b7cd3493" providerId="ADAL" clId="{53FF904F-3F5D-4AC0-AD5C-4276B4F956CF}" dt="2022-12-18T22:35:46.309" v="7121" actId="478"/>
          <ac:spMkLst>
            <pc:docMk/>
            <pc:sldMk cId="3974860720" sldId="2141410978"/>
            <ac:spMk id="32" creationId="{D854E8C9-E807-6223-AD66-058C3D0DFB4C}"/>
          </ac:spMkLst>
        </pc:spChg>
        <pc:spChg chg="add del mod">
          <ac:chgData name="Wilson, Benjamin" userId="5e565093-9b03-48e6-8226-93d7b7cd3493" providerId="ADAL" clId="{53FF904F-3F5D-4AC0-AD5C-4276B4F956CF}" dt="2022-12-18T22:35:46.309" v="7121" actId="478"/>
          <ac:spMkLst>
            <pc:docMk/>
            <pc:sldMk cId="3974860720" sldId="2141410978"/>
            <ac:spMk id="33" creationId="{D1E91DDC-0336-EDAF-8045-3841287FBFC1}"/>
          </ac:spMkLst>
        </pc:spChg>
        <pc:spChg chg="mod">
          <ac:chgData name="Wilson, Benjamin" userId="5e565093-9b03-48e6-8226-93d7b7cd3493" providerId="ADAL" clId="{53FF904F-3F5D-4AC0-AD5C-4276B4F956CF}" dt="2022-12-18T22:36:40.678" v="7163" actId="948"/>
          <ac:spMkLst>
            <pc:docMk/>
            <pc:sldMk cId="3974860720" sldId="2141410978"/>
            <ac:spMk id="39" creationId="{D40F40C0-6CD0-8AFF-28E2-3EB7978F8A67}"/>
          </ac:spMkLst>
        </pc:spChg>
        <pc:grpChg chg="del">
          <ac:chgData name="Wilson, Benjamin" userId="5e565093-9b03-48e6-8226-93d7b7cd3493" providerId="ADAL" clId="{53FF904F-3F5D-4AC0-AD5C-4276B4F956CF}" dt="2022-12-18T22:34:42.539" v="7087" actId="478"/>
          <ac:grpSpMkLst>
            <pc:docMk/>
            <pc:sldMk cId="3974860720" sldId="2141410978"/>
            <ac:grpSpMk id="14" creationId="{198F6A65-F821-B459-837F-2E6B055F921C}"/>
          </ac:grpSpMkLst>
        </pc:grpChg>
        <pc:grpChg chg="add del">
          <ac:chgData name="Wilson, Benjamin" userId="5e565093-9b03-48e6-8226-93d7b7cd3493" providerId="ADAL" clId="{53FF904F-3F5D-4AC0-AD5C-4276B4F956CF}" dt="2022-12-18T22:35:45.191" v="7120" actId="478"/>
          <ac:grpSpMkLst>
            <pc:docMk/>
            <pc:sldMk cId="3974860720" sldId="2141410978"/>
            <ac:grpSpMk id="29" creationId="{AB5F5ADE-E96D-B32B-835F-056012D36A1C}"/>
          </ac:grpSpMkLst>
        </pc:grpChg>
        <pc:grpChg chg="add del">
          <ac:chgData name="Wilson, Benjamin" userId="5e565093-9b03-48e6-8226-93d7b7cd3493" providerId="ADAL" clId="{53FF904F-3F5D-4AC0-AD5C-4276B4F956CF}" dt="2022-12-18T22:35:46.309" v="7121" actId="478"/>
          <ac:grpSpMkLst>
            <pc:docMk/>
            <pc:sldMk cId="3974860720" sldId="2141410978"/>
            <ac:grpSpMk id="31" creationId="{CDCE211A-CE95-C4A2-8BF3-6F3F62D7217E}"/>
          </ac:grpSpMkLst>
        </pc:grpChg>
        <pc:graphicFrameChg chg="mod">
          <ac:chgData name="Wilson, Benjamin" userId="5e565093-9b03-48e6-8226-93d7b7cd3493" providerId="ADAL" clId="{53FF904F-3F5D-4AC0-AD5C-4276B4F956CF}" dt="2022-12-18T22:36:40.710" v="7206"/>
          <ac:graphicFrameMkLst>
            <pc:docMk/>
            <pc:sldMk cId="3974860720" sldId="2141410978"/>
            <ac:graphicFrameMk id="6" creationId="{9D839CE3-4017-F5DA-CAE5-78AA612B2C76}"/>
          </ac:graphicFrameMkLst>
        </pc:graphicFrameChg>
        <pc:picChg chg="add mod">
          <ac:chgData name="Wilson, Benjamin" userId="5e565093-9b03-48e6-8226-93d7b7cd3493" providerId="ADAL" clId="{53FF904F-3F5D-4AC0-AD5C-4276B4F956CF}" dt="2022-12-18T22:36:29.495" v="7137" actId="1076"/>
          <ac:picMkLst>
            <pc:docMk/>
            <pc:sldMk cId="3974860720" sldId="2141410978"/>
            <ac:picMk id="3" creationId="{75A6E3EC-B17D-B682-2A5A-5125E577E888}"/>
          </ac:picMkLst>
        </pc:picChg>
        <pc:picChg chg="del">
          <ac:chgData name="Wilson, Benjamin" userId="5e565093-9b03-48e6-8226-93d7b7cd3493" providerId="ADAL" clId="{53FF904F-3F5D-4AC0-AD5C-4276B4F956CF}" dt="2022-12-18T22:34:50.522" v="7095" actId="478"/>
          <ac:picMkLst>
            <pc:docMk/>
            <pc:sldMk cId="3974860720" sldId="2141410978"/>
            <ac:picMk id="35" creationId="{B8E4660B-C31F-E82B-75D8-5C93DBE2ECCC}"/>
          </ac:picMkLst>
        </pc:picChg>
        <pc:picChg chg="del">
          <ac:chgData name="Wilson, Benjamin" userId="5e565093-9b03-48e6-8226-93d7b7cd3493" providerId="ADAL" clId="{53FF904F-3F5D-4AC0-AD5C-4276B4F956CF}" dt="2022-12-18T22:34:49.424" v="7093" actId="478"/>
          <ac:picMkLst>
            <pc:docMk/>
            <pc:sldMk cId="3974860720" sldId="2141410978"/>
            <ac:picMk id="36" creationId="{4CD49DD2-DA20-CE34-E2A7-C99C28D88581}"/>
          </ac:picMkLst>
        </pc:picChg>
        <pc:picChg chg="del">
          <ac:chgData name="Wilson, Benjamin" userId="5e565093-9b03-48e6-8226-93d7b7cd3493" providerId="ADAL" clId="{53FF904F-3F5D-4AC0-AD5C-4276B4F956CF}" dt="2022-12-18T22:34:48.713" v="7092" actId="478"/>
          <ac:picMkLst>
            <pc:docMk/>
            <pc:sldMk cId="3974860720" sldId="2141410978"/>
            <ac:picMk id="37" creationId="{1D4D34AA-9180-7F14-4902-D9940C544073}"/>
          </ac:picMkLst>
        </pc:picChg>
        <pc:picChg chg="del">
          <ac:chgData name="Wilson, Benjamin" userId="5e565093-9b03-48e6-8226-93d7b7cd3493" providerId="ADAL" clId="{53FF904F-3F5D-4AC0-AD5C-4276B4F956CF}" dt="2022-12-18T22:34:49.993" v="7094" actId="478"/>
          <ac:picMkLst>
            <pc:docMk/>
            <pc:sldMk cId="3974860720" sldId="2141410978"/>
            <ac:picMk id="38" creationId="{3A0E6270-0746-D83D-A5CE-B1E26981CC65}"/>
          </ac:picMkLst>
        </pc:picChg>
        <pc:cxnChg chg="topLvl">
          <ac:chgData name="Wilson, Benjamin" userId="5e565093-9b03-48e6-8226-93d7b7cd3493" providerId="ADAL" clId="{53FF904F-3F5D-4AC0-AD5C-4276B4F956CF}" dt="2022-12-18T22:35:01.958" v="7100" actId="478"/>
          <ac:cxnSpMkLst>
            <pc:docMk/>
            <pc:sldMk cId="3974860720" sldId="2141410978"/>
            <ac:cxnSpMk id="30" creationId="{983D9638-217C-DFAA-4EE6-CF44E3B57DAD}"/>
          </ac:cxnSpMkLst>
        </pc:cxnChg>
      </pc:sldChg>
      <pc:sldChg chg="addSp delSp modSp new add mod">
        <pc:chgData name="Wilson, Benjamin" userId="5e565093-9b03-48e6-8226-93d7b7cd3493" providerId="ADAL" clId="{53FF904F-3F5D-4AC0-AD5C-4276B4F956CF}" dt="2022-12-18T22:38:26.241" v="7340" actId="20577"/>
        <pc:sldMkLst>
          <pc:docMk/>
          <pc:sldMk cId="3968363640" sldId="2141410979"/>
        </pc:sldMkLst>
        <pc:spChg chg="mod">
          <ac:chgData name="Wilson, Benjamin" userId="5e565093-9b03-48e6-8226-93d7b7cd3493" providerId="ADAL" clId="{53FF904F-3F5D-4AC0-AD5C-4276B4F956CF}" dt="2022-12-18T22:38:26.241" v="7340" actId="20577"/>
          <ac:spMkLst>
            <pc:docMk/>
            <pc:sldMk cId="3968363640" sldId="2141410979"/>
            <ac:spMk id="2" creationId="{33A2520F-0EFE-6E02-113D-7A976243E493}"/>
          </ac:spMkLst>
        </pc:spChg>
        <pc:spChg chg="mod">
          <ac:chgData name="Wilson, Benjamin" userId="5e565093-9b03-48e6-8226-93d7b7cd3493" providerId="ADAL" clId="{53FF904F-3F5D-4AC0-AD5C-4276B4F956CF}" dt="2022-12-18T22:37:59.851" v="7316" actId="948"/>
          <ac:spMkLst>
            <pc:docMk/>
            <pc:sldMk cId="3968363640" sldId="2141410979"/>
            <ac:spMk id="3" creationId="{039F1C62-F597-28E3-1B46-DD856E4B85AB}"/>
          </ac:spMkLst>
        </pc:spChg>
        <pc:spChg chg="mod">
          <ac:chgData name="Wilson, Benjamin" userId="5e565093-9b03-48e6-8226-93d7b7cd3493" providerId="ADAL" clId="{53FF904F-3F5D-4AC0-AD5C-4276B4F956CF}" dt="2022-12-18T22:38:17.057" v="7323" actId="207"/>
          <ac:spMkLst>
            <pc:docMk/>
            <pc:sldMk cId="3968363640" sldId="2141410979"/>
            <ac:spMk id="4" creationId="{125414A2-31D4-5C41-15CB-76CD4A9725F7}"/>
          </ac:spMkLst>
        </pc:spChg>
        <pc:spChg chg="add del mod modVis">
          <ac:chgData name="Wilson, Benjamin" userId="5e565093-9b03-48e6-8226-93d7b7cd3493" providerId="ADAL" clId="{53FF904F-3F5D-4AC0-AD5C-4276B4F956CF}" dt="2022-12-18T22:37:36.012" v="7284"/>
          <ac:spMkLst>
            <pc:docMk/>
            <pc:sldMk cId="3968363640" sldId="2141410979"/>
            <ac:spMk id="5" creationId="{8E2CE832-2898-87FA-4E42-9550AA1125BB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2:37:59.889" v="7320"/>
          <ac:graphicFrameMkLst>
            <pc:docMk/>
            <pc:sldMk cId="3968363640" sldId="2141410979"/>
            <ac:graphicFrameMk id="6" creationId="{7F6D8B19-150D-85B9-6978-9FBB8D05C2D8}"/>
          </ac:graphicFrameMkLst>
        </pc:graphicFrameChg>
      </pc:sldChg>
      <pc:sldChg chg="addSp delSp modSp new add mod">
        <pc:chgData name="Wilson, Benjamin" userId="5e565093-9b03-48e6-8226-93d7b7cd3493" providerId="ADAL" clId="{53FF904F-3F5D-4AC0-AD5C-4276B4F956CF}" dt="2022-12-18T22:42:08.961" v="7551" actId="14100"/>
        <pc:sldMkLst>
          <pc:docMk/>
          <pc:sldMk cId="1861626177" sldId="2141410980"/>
        </pc:sldMkLst>
        <pc:spChg chg="del">
          <ac:chgData name="Wilson, Benjamin" userId="5e565093-9b03-48e6-8226-93d7b7cd3493" providerId="ADAL" clId="{53FF904F-3F5D-4AC0-AD5C-4276B4F956CF}" dt="2022-12-18T22:41:59.688" v="7547" actId="478"/>
          <ac:spMkLst>
            <pc:docMk/>
            <pc:sldMk cId="1861626177" sldId="2141410980"/>
            <ac:spMk id="2" creationId="{DE922C4B-FB7A-48E4-4680-39D41F29CE7C}"/>
          </ac:spMkLst>
        </pc:spChg>
        <pc:spChg chg="mod">
          <ac:chgData name="Wilson, Benjamin" userId="5e565093-9b03-48e6-8226-93d7b7cd3493" providerId="ADAL" clId="{53FF904F-3F5D-4AC0-AD5C-4276B4F956CF}" dt="2022-12-18T22:41:56.825" v="7503" actId="948"/>
          <ac:spMkLst>
            <pc:docMk/>
            <pc:sldMk cId="1861626177" sldId="2141410980"/>
            <ac:spMk id="3" creationId="{06F57E34-9FC9-E0A2-69F3-31528CDD9AB1}"/>
          </ac:spMkLst>
        </pc:spChg>
        <pc:spChg chg="mod">
          <ac:chgData name="Wilson, Benjamin" userId="5e565093-9b03-48e6-8226-93d7b7cd3493" providerId="ADAL" clId="{53FF904F-3F5D-4AC0-AD5C-4276B4F956CF}" dt="2022-12-18T22:38:50.740" v="7360" actId="20577"/>
          <ac:spMkLst>
            <pc:docMk/>
            <pc:sldMk cId="1861626177" sldId="2141410980"/>
            <ac:spMk id="4" creationId="{87F50675-CDDA-FD55-8A42-AFBA5B9F61D8}"/>
          </ac:spMkLst>
        </pc:spChg>
        <pc:spChg chg="del">
          <ac:chgData name="Wilson, Benjamin" userId="5e565093-9b03-48e6-8226-93d7b7cd3493" providerId="ADAL" clId="{53FF904F-3F5D-4AC0-AD5C-4276B4F956CF}" dt="2022-12-18T22:42:02.072" v="7548" actId="478"/>
          <ac:spMkLst>
            <pc:docMk/>
            <pc:sldMk cId="1861626177" sldId="2141410980"/>
            <ac:spMk id="5" creationId="{ECD649DC-0C3B-454B-06F9-7B13C8C42B3E}"/>
          </ac:spMkLst>
        </pc:spChg>
        <pc:spChg chg="add del mod modVis">
          <ac:chgData name="Wilson, Benjamin" userId="5e565093-9b03-48e6-8226-93d7b7cd3493" providerId="ADAL" clId="{53FF904F-3F5D-4AC0-AD5C-4276B4F956CF}" dt="2022-12-18T22:41:49.970" v="7418"/>
          <ac:spMkLst>
            <pc:docMk/>
            <pc:sldMk cId="1861626177" sldId="2141410980"/>
            <ac:spMk id="6" creationId="{489DE070-BE1E-71C5-EF10-ACABA2246ED6}"/>
          </ac:spMkLst>
        </pc:spChg>
        <pc:spChg chg="add del mod modVis">
          <ac:chgData name="Wilson, Benjamin" userId="5e565093-9b03-48e6-8226-93d7b7cd3493" providerId="ADAL" clId="{53FF904F-3F5D-4AC0-AD5C-4276B4F956CF}" dt="2022-12-18T22:41:53.107" v="7494"/>
          <ac:spMkLst>
            <pc:docMk/>
            <pc:sldMk cId="1861626177" sldId="2141410980"/>
            <ac:spMk id="8" creationId="{0B6D2BC2-EC74-B359-64C9-8ED937EEECFA}"/>
          </ac:spMkLst>
        </pc:spChg>
        <pc:spChg chg="add del mod modVis">
          <ac:chgData name="Wilson, Benjamin" userId="5e565093-9b03-48e6-8226-93d7b7cd3493" providerId="ADAL" clId="{53FF904F-3F5D-4AC0-AD5C-4276B4F956CF}" dt="2022-12-18T22:41:56.854" v="7544"/>
          <ac:spMkLst>
            <pc:docMk/>
            <pc:sldMk cId="1861626177" sldId="2141410980"/>
            <ac:spMk id="9" creationId="{657F2CAD-0CC4-2080-9B96-7455CDD2664A}"/>
          </ac:spMkLst>
        </pc:spChg>
        <pc:graphicFrameChg chg="add mod ord modVis replST">
          <ac:chgData name="Wilson, Benjamin" userId="5e565093-9b03-48e6-8226-93d7b7cd3493" providerId="ADAL" clId="{53FF904F-3F5D-4AC0-AD5C-4276B4F956CF}" dt="2022-12-18T22:41:56.857" v="7546"/>
          <ac:graphicFrameMkLst>
            <pc:docMk/>
            <pc:sldMk cId="1861626177" sldId="2141410980"/>
            <ac:graphicFrameMk id="7" creationId="{B7E026A2-30DB-8B44-0FB9-B52013DE3AEA}"/>
          </ac:graphicFrameMkLst>
        </pc:graphicFrameChg>
        <pc:picChg chg="add mod">
          <ac:chgData name="Wilson, Benjamin" userId="5e565093-9b03-48e6-8226-93d7b7cd3493" providerId="ADAL" clId="{53FF904F-3F5D-4AC0-AD5C-4276B4F956CF}" dt="2022-12-18T22:42:08.961" v="7551" actId="14100"/>
          <ac:picMkLst>
            <pc:docMk/>
            <pc:sldMk cId="1861626177" sldId="2141410980"/>
            <ac:picMk id="10" creationId="{28E7D6BF-36DA-3A25-3FBF-DA7EE65467D4}"/>
          </ac:picMkLst>
        </pc:picChg>
      </pc:sldChg>
      <pc:sldChg chg="delSp mod">
        <pc:chgData name="Wilson, Benjamin" userId="5e565093-9b03-48e6-8226-93d7b7cd3493" providerId="ADAL" clId="{53FF904F-3F5D-4AC0-AD5C-4276B4F956CF}" dt="2022-12-19T14:13:05.096" v="7554" actId="478"/>
        <pc:sldMkLst>
          <pc:docMk/>
          <pc:sldMk cId="469298550" sldId="2141410984"/>
        </pc:sldMkLst>
        <pc:spChg chg="del">
          <ac:chgData name="Wilson, Benjamin" userId="5e565093-9b03-48e6-8226-93d7b7cd3493" providerId="ADAL" clId="{53FF904F-3F5D-4AC0-AD5C-4276B4F956CF}" dt="2022-12-19T14:13:05.096" v="7554" actId="478"/>
          <ac:spMkLst>
            <pc:docMk/>
            <pc:sldMk cId="469298550" sldId="2141410984"/>
            <ac:spMk id="5" creationId="{4A01C5A2-1373-DBCC-1C50-3B0EC0DFFFD6}"/>
          </ac:spMkLst>
        </pc:spChg>
      </pc:sldChg>
      <pc:sldChg chg="delSp mod">
        <pc:chgData name="Wilson, Benjamin" userId="5e565093-9b03-48e6-8226-93d7b7cd3493" providerId="ADAL" clId="{53FF904F-3F5D-4AC0-AD5C-4276B4F956CF}" dt="2022-12-19T14:13:09.982" v="7555" actId="478"/>
        <pc:sldMkLst>
          <pc:docMk/>
          <pc:sldMk cId="350304568" sldId="2141410985"/>
        </pc:sldMkLst>
        <pc:spChg chg="del">
          <ac:chgData name="Wilson, Benjamin" userId="5e565093-9b03-48e6-8226-93d7b7cd3493" providerId="ADAL" clId="{53FF904F-3F5D-4AC0-AD5C-4276B4F956CF}" dt="2022-12-19T14:13:09.982" v="7555" actId="478"/>
          <ac:spMkLst>
            <pc:docMk/>
            <pc:sldMk cId="350304568" sldId="2141410985"/>
            <ac:spMk id="5" creationId="{924C4F57-9CF8-01F6-2FA8-738771E5FB37}"/>
          </ac:spMkLst>
        </pc:spChg>
      </pc:sldChg>
      <pc:sldMasterChg chg="delSldLayout">
        <pc:chgData name="Wilson, Benjamin" userId="5e565093-9b03-48e6-8226-93d7b7cd3493" providerId="ADAL" clId="{53FF904F-3F5D-4AC0-AD5C-4276B4F956CF}" dt="2022-12-18T19:57:07.993" v="3713" actId="2696"/>
        <pc:sldMasterMkLst>
          <pc:docMk/>
          <pc:sldMasterMk cId="591322580" sldId="2147483648"/>
        </pc:sldMasterMkLst>
        <pc:sldLayoutChg chg="del">
          <pc:chgData name="Wilson, Benjamin" userId="5e565093-9b03-48e6-8226-93d7b7cd3493" providerId="ADAL" clId="{53FF904F-3F5D-4AC0-AD5C-4276B4F956CF}" dt="2022-12-18T19:57:07.993" v="3713" actId="2696"/>
          <pc:sldLayoutMkLst>
            <pc:docMk/>
            <pc:sldMasterMk cId="591322580" sldId="2147483648"/>
            <pc:sldLayoutMk cId="2005389335" sldId="2147483734"/>
          </pc:sldLayoutMkLst>
        </pc:sldLayoutChg>
        <pc:sldLayoutChg chg="del">
          <pc:chgData name="Wilson, Benjamin" userId="5e565093-9b03-48e6-8226-93d7b7cd3493" providerId="ADAL" clId="{53FF904F-3F5D-4AC0-AD5C-4276B4F956CF}" dt="2022-12-18T18:55:21.160" v="265" actId="2696"/>
          <pc:sldLayoutMkLst>
            <pc:docMk/>
            <pc:sldMasterMk cId="591322580" sldId="2147483648"/>
            <pc:sldLayoutMk cId="2178686465" sldId="2147483734"/>
          </pc:sldLayoutMkLst>
        </pc:sldLayoutChg>
        <pc:sldLayoutChg chg="del">
          <pc:chgData name="Wilson, Benjamin" userId="5e565093-9b03-48e6-8226-93d7b7cd3493" providerId="ADAL" clId="{53FF904F-3F5D-4AC0-AD5C-4276B4F956CF}" dt="2022-12-18T19:02:06.107" v="553" actId="2696"/>
          <pc:sldLayoutMkLst>
            <pc:docMk/>
            <pc:sldMasterMk cId="591322580" sldId="2147483648"/>
            <pc:sldLayoutMk cId="3696484498" sldId="2147483734"/>
          </pc:sldLayoutMkLst>
        </pc:sldLayoutChg>
      </pc:sldMasterChg>
    </pc:docChg>
  </pc:docChgLst>
  <pc:docChgLst>
    <pc:chgData name="Kalva, Sai" userId="S::yte2md@darden.virginia.edu::94f23aad-c8e0-4621-8c27-d8e269f9cd91" providerId="AD" clId="Web-{DA34909C-FF08-4B73-BEC9-FB43745BB014}"/>
    <pc:docChg chg="addSld delSld modSld sldOrd modSection">
      <pc:chgData name="Kalva, Sai" userId="S::yte2md@darden.virginia.edu::94f23aad-c8e0-4621-8c27-d8e269f9cd91" providerId="AD" clId="Web-{DA34909C-FF08-4B73-BEC9-FB43745BB014}" dt="2022-12-18T21:10:47.431" v="1163" actId="20577"/>
      <pc:docMkLst>
        <pc:docMk/>
      </pc:docMkLst>
      <pc:sldChg chg="addSp delSp modSp">
        <pc:chgData name="Kalva, Sai" userId="S::yte2md@darden.virginia.edu::94f23aad-c8e0-4621-8c27-d8e269f9cd91" providerId="AD" clId="Web-{DA34909C-FF08-4B73-BEC9-FB43745BB014}" dt="2022-12-18T20:54:37.604" v="652" actId="1076"/>
        <pc:sldMkLst>
          <pc:docMk/>
          <pc:sldMk cId="870337942" sldId="369"/>
        </pc:sldMkLst>
        <pc:spChg chg="mod">
          <ac:chgData name="Kalva, Sai" userId="S::yte2md@darden.virginia.edu::94f23aad-c8e0-4621-8c27-d8e269f9cd91" providerId="AD" clId="Web-{DA34909C-FF08-4B73-BEC9-FB43745BB014}" dt="2022-12-18T20:53:41.727" v="646" actId="14100"/>
          <ac:spMkLst>
            <pc:docMk/>
            <pc:sldMk cId="870337942" sldId="369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DA34909C-FF08-4B73-BEC9-FB43745BB014}" dt="2022-12-18T20:50:16.859" v="638" actId="20577"/>
          <ac:spMkLst>
            <pc:docMk/>
            <pc:sldMk cId="870337942" sldId="369"/>
            <ac:spMk id="3" creationId="{305F9436-CCF7-5AD1-7B91-8AFA3EBE05FE}"/>
          </ac:spMkLst>
        </pc:spChg>
        <pc:spChg chg="add del mod">
          <ac:chgData name="Kalva, Sai" userId="S::yte2md@darden.virginia.edu::94f23aad-c8e0-4621-8c27-d8e269f9cd91" providerId="AD" clId="Web-{DA34909C-FF08-4B73-BEC9-FB43745BB014}" dt="2022-12-18T20:39:37.051" v="578"/>
          <ac:spMkLst>
            <pc:docMk/>
            <pc:sldMk cId="870337942" sldId="369"/>
            <ac:spMk id="4" creationId="{6FF178E2-9032-FD60-F92E-AD396C30FA46}"/>
          </ac:spMkLst>
        </pc:spChg>
        <pc:spChg chg="del">
          <ac:chgData name="Kalva, Sai" userId="S::yte2md@darden.virginia.edu::94f23aad-c8e0-4621-8c27-d8e269f9cd91" providerId="AD" clId="Web-{DA34909C-FF08-4B73-BEC9-FB43745BB014}" dt="2022-12-18T20:36:08.886" v="557"/>
          <ac:spMkLst>
            <pc:docMk/>
            <pc:sldMk cId="870337942" sldId="369"/>
            <ac:spMk id="5" creationId="{40A2CAAB-A90B-2A37-95C1-4E1E85C4AA57}"/>
          </ac:spMkLst>
        </pc:spChg>
        <pc:spChg chg="add del">
          <ac:chgData name="Kalva, Sai" userId="S::yte2md@darden.virginia.edu::94f23aad-c8e0-4621-8c27-d8e269f9cd91" providerId="AD" clId="Web-{DA34909C-FF08-4B73-BEC9-FB43745BB014}" dt="2022-12-18T20:37:13.639" v="563"/>
          <ac:spMkLst>
            <pc:docMk/>
            <pc:sldMk cId="870337942" sldId="369"/>
            <ac:spMk id="6" creationId="{BEFEF3DC-A710-2DA2-86FC-E3E9B59ACA06}"/>
          </ac:spMkLst>
        </pc:spChg>
        <pc:spChg chg="add del mod">
          <ac:chgData name="Kalva, Sai" userId="S::yte2md@darden.virginia.edu::94f23aad-c8e0-4621-8c27-d8e269f9cd91" providerId="AD" clId="Web-{DA34909C-FF08-4B73-BEC9-FB43745BB014}" dt="2022-12-18T20:39:39.160" v="579"/>
          <ac:spMkLst>
            <pc:docMk/>
            <pc:sldMk cId="870337942" sldId="369"/>
            <ac:spMk id="7" creationId="{36A59C8B-AC74-D8F5-155C-2BB6E1326D48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20:40:08.412" v="587"/>
          <ac:spMkLst>
            <pc:docMk/>
            <pc:sldMk cId="870337942" sldId="369"/>
            <ac:spMk id="10" creationId="{8B2E2AE5-3FBB-F7DC-22B7-0EBEEFF4584D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20:42:56.028" v="622" actId="20577"/>
          <ac:spMkLst>
            <pc:docMk/>
            <pc:sldMk cId="870337942" sldId="369"/>
            <ac:spMk id="11" creationId="{EAFA3618-6672-4C4D-B32E-AB98942727D1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20:54:37.604" v="652" actId="1076"/>
          <ac:spMkLst>
            <pc:docMk/>
            <pc:sldMk cId="870337942" sldId="369"/>
            <ac:spMk id="12" creationId="{EEB494F2-C254-329A-1FDE-ECF5E8049889}"/>
          </ac:spMkLst>
        </pc:spChg>
        <pc:cxnChg chg="add del">
          <ac:chgData name="Kalva, Sai" userId="S::yte2md@darden.virginia.edu::94f23aad-c8e0-4621-8c27-d8e269f9cd91" providerId="AD" clId="Web-{DA34909C-FF08-4B73-BEC9-FB43745BB014}" dt="2022-12-18T20:38:16.813" v="571"/>
          <ac:cxnSpMkLst>
            <pc:docMk/>
            <pc:sldMk cId="870337942" sldId="369"/>
            <ac:cxnSpMk id="8" creationId="{1486F7F2-577C-AE5F-985E-7BCDBF78FCD8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0:38:56.409" v="576"/>
          <ac:cxnSpMkLst>
            <pc:docMk/>
            <pc:sldMk cId="870337942" sldId="369"/>
            <ac:cxnSpMk id="9" creationId="{71ABC2CD-7A55-0E88-7724-2151006E153D}"/>
          </ac:cxnSpMkLst>
        </pc:cxnChg>
      </pc:sldChg>
      <pc:sldChg chg="del ord">
        <pc:chgData name="Kalva, Sai" userId="S::yte2md@darden.virginia.edu::94f23aad-c8e0-4621-8c27-d8e269f9cd91" providerId="AD" clId="Web-{DA34909C-FF08-4B73-BEC9-FB43745BB014}" dt="2022-12-18T21:08:35.738" v="1121"/>
        <pc:sldMkLst>
          <pc:docMk/>
          <pc:sldMk cId="3032269542" sldId="371"/>
        </pc:sldMkLst>
      </pc:sldChg>
      <pc:sldChg chg="modSp del ord">
        <pc:chgData name="Kalva, Sai" userId="S::yte2md@darden.virginia.edu::94f23aad-c8e0-4621-8c27-d8e269f9cd91" providerId="AD" clId="Web-{DA34909C-FF08-4B73-BEC9-FB43745BB014}" dt="2022-12-18T21:08:38.738" v="1122"/>
        <pc:sldMkLst>
          <pc:docMk/>
          <pc:sldMk cId="1914787046" sldId="372"/>
        </pc:sldMkLst>
        <pc:spChg chg="mod">
          <ac:chgData name="Kalva, Sai" userId="S::yte2md@darden.virginia.edu::94f23aad-c8e0-4621-8c27-d8e269f9cd91" providerId="AD" clId="Web-{DA34909C-FF08-4B73-BEC9-FB43745BB014}" dt="2022-12-18T20:01:31.840" v="104" actId="20577"/>
          <ac:spMkLst>
            <pc:docMk/>
            <pc:sldMk cId="1914787046" sldId="372"/>
            <ac:spMk id="2" creationId="{2258F4F8-FD96-2A9F-7359-331BC5A4A3E3}"/>
          </ac:spMkLst>
        </pc:spChg>
      </pc:sldChg>
      <pc:sldChg chg="addSp delSp modSp ord">
        <pc:chgData name="Kalva, Sai" userId="S::yte2md@darden.virginia.edu::94f23aad-c8e0-4621-8c27-d8e269f9cd91" providerId="AD" clId="Web-{DA34909C-FF08-4B73-BEC9-FB43745BB014}" dt="2022-12-18T21:10:47.431" v="1163" actId="20577"/>
        <pc:sldMkLst>
          <pc:docMk/>
          <pc:sldMk cId="2336129016" sldId="390"/>
        </pc:sldMkLst>
        <pc:spChg chg="del mod">
          <ac:chgData name="Kalva, Sai" userId="S::yte2md@darden.virginia.edu::94f23aad-c8e0-4621-8c27-d8e269f9cd91" providerId="AD" clId="Web-{DA34909C-FF08-4B73-BEC9-FB43745BB014}" dt="2022-12-18T21:04:52.713" v="1082"/>
          <ac:spMkLst>
            <pc:docMk/>
            <pc:sldMk cId="2336129016" sldId="390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DA34909C-FF08-4B73-BEC9-FB43745BB014}" dt="2022-12-18T21:08:54.645" v="1124" actId="20577"/>
          <ac:spMkLst>
            <pc:docMk/>
            <pc:sldMk cId="2336129016" sldId="390"/>
            <ac:spMk id="3" creationId="{305F9436-CCF7-5AD1-7B91-8AFA3EBE05FE}"/>
          </ac:spMkLst>
        </pc:spChg>
        <pc:spChg chg="add del mod">
          <ac:chgData name="Kalva, Sai" userId="S::yte2md@darden.virginia.edu::94f23aad-c8e0-4621-8c27-d8e269f9cd91" providerId="AD" clId="Web-{DA34909C-FF08-4B73-BEC9-FB43745BB014}" dt="2022-12-18T20:03:25.631" v="123"/>
          <ac:spMkLst>
            <pc:docMk/>
            <pc:sldMk cId="2336129016" sldId="390"/>
            <ac:spMk id="4" creationId="{28EB8306-4237-E354-8667-E5DE5BC80EE7}"/>
          </ac:spMkLst>
        </pc:spChg>
        <pc:spChg chg="mod">
          <ac:chgData name="Kalva, Sai" userId="S::yte2md@darden.virginia.edu::94f23aad-c8e0-4621-8c27-d8e269f9cd91" providerId="AD" clId="Web-{DA34909C-FF08-4B73-BEC9-FB43745BB014}" dt="2022-12-18T20:16:05.241" v="319" actId="1076"/>
          <ac:spMkLst>
            <pc:docMk/>
            <pc:sldMk cId="2336129016" sldId="390"/>
            <ac:spMk id="5" creationId="{40A2CAAB-A90B-2A37-95C1-4E1E85C4AA57}"/>
          </ac:spMkLst>
        </pc:spChg>
        <pc:spChg chg="add del mod">
          <ac:chgData name="Kalva, Sai" userId="S::yte2md@darden.virginia.edu::94f23aad-c8e0-4621-8c27-d8e269f9cd91" providerId="AD" clId="Web-{DA34909C-FF08-4B73-BEC9-FB43745BB014}" dt="2022-12-18T21:09:20.255" v="1127" actId="1076"/>
          <ac:spMkLst>
            <pc:docMk/>
            <pc:sldMk cId="2336129016" sldId="390"/>
            <ac:spMk id="13" creationId="{8FA0F9B6-99AC-5CC5-0A9E-B3C81C129A79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21:06:52.436" v="1113" actId="20577"/>
          <ac:spMkLst>
            <pc:docMk/>
            <pc:sldMk cId="2336129016" sldId="390"/>
            <ac:spMk id="14" creationId="{878746A9-E886-E604-FDA8-C1961ED18C5F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21:10:47.431" v="1163" actId="20577"/>
          <ac:spMkLst>
            <pc:docMk/>
            <pc:sldMk cId="2336129016" sldId="390"/>
            <ac:spMk id="15" creationId="{B990E2E7-4966-16F1-D0F2-79B6EE34FA34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21:04:17.039" v="1074" actId="1076"/>
          <ac:spMkLst>
            <pc:docMk/>
            <pc:sldMk cId="2336129016" sldId="390"/>
            <ac:spMk id="20" creationId="{89D2C5BD-BEAD-2150-C6F2-58ABBF63FCCD}"/>
          </ac:spMkLst>
        </pc:spChg>
        <pc:spChg chg="add del mod">
          <ac:chgData name="Kalva, Sai" userId="S::yte2md@darden.virginia.edu::94f23aad-c8e0-4621-8c27-d8e269f9cd91" providerId="AD" clId="Web-{DA34909C-FF08-4B73-BEC9-FB43745BB014}" dt="2022-12-18T20:21:04.035" v="377"/>
          <ac:spMkLst>
            <pc:docMk/>
            <pc:sldMk cId="2336129016" sldId="390"/>
            <ac:spMk id="21" creationId="{15DDBD24-671D-3F3A-89CA-57E1A021C493}"/>
          </ac:spMkLst>
        </pc:spChg>
        <pc:cxnChg chg="add mod">
          <ac:chgData name="Kalva, Sai" userId="S::yte2md@darden.virginia.edu::94f23aad-c8e0-4621-8c27-d8e269f9cd91" providerId="AD" clId="Web-{DA34909C-FF08-4B73-BEC9-FB43745BB014}" dt="2022-12-18T21:03:21.865" v="1068" actId="14100"/>
          <ac:cxnSpMkLst>
            <pc:docMk/>
            <pc:sldMk cId="2336129016" sldId="390"/>
            <ac:cxnSpMk id="6" creationId="{5BAD2701-2ABA-12B2-30DE-A50900C2E27C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0:03:48.742" v="128"/>
          <ac:cxnSpMkLst>
            <pc:docMk/>
            <pc:sldMk cId="2336129016" sldId="390"/>
            <ac:cxnSpMk id="7" creationId="{2CF7CB16-13C6-388A-44DD-C4774F1A45F1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3:43.413" v="1069" actId="14100"/>
          <ac:cxnSpMkLst>
            <pc:docMk/>
            <pc:sldMk cId="2336129016" sldId="390"/>
            <ac:cxnSpMk id="8" creationId="{0585CFFE-ED6E-15C4-8F62-5C4285E83E23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1:34.158" v="1052" actId="14100"/>
          <ac:cxnSpMkLst>
            <pc:docMk/>
            <pc:sldMk cId="2336129016" sldId="390"/>
            <ac:cxnSpMk id="9" creationId="{ACCA88DF-D5CB-CA3F-C764-B71A3FBFE2B0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0:05:53.012" v="149"/>
          <ac:cxnSpMkLst>
            <pc:docMk/>
            <pc:sldMk cId="2336129016" sldId="390"/>
            <ac:cxnSpMk id="10" creationId="{62475081-9E3D-7E39-2BD6-D27F6CF492B1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0:18:53.060" v="352"/>
          <ac:cxnSpMkLst>
            <pc:docMk/>
            <pc:sldMk cId="2336129016" sldId="390"/>
            <ac:cxnSpMk id="11" creationId="{D09C16AE-3BF9-324F-303D-075AE1AFD444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3:57.882" v="1071" actId="14100"/>
          <ac:cxnSpMkLst>
            <pc:docMk/>
            <pc:sldMk cId="2336129016" sldId="390"/>
            <ac:cxnSpMk id="12" creationId="{4278E09C-AB93-257F-F332-5C8C7BF9ECF7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1:10:05.288" v="1147"/>
          <ac:cxnSpMkLst>
            <pc:docMk/>
            <pc:sldMk cId="2336129016" sldId="390"/>
            <ac:cxnSpMk id="16" creationId="{8D5C5DB7-2D46-B68A-210F-95FDB55C2E4E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5:59.950" v="1098" actId="14100"/>
          <ac:cxnSpMkLst>
            <pc:docMk/>
            <pc:sldMk cId="2336129016" sldId="390"/>
            <ac:cxnSpMk id="17" creationId="{5D3B24F6-A8B2-22C1-F9D1-857D074047BE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5:46.230" v="1096" actId="1076"/>
          <ac:cxnSpMkLst>
            <pc:docMk/>
            <pc:sldMk cId="2336129016" sldId="390"/>
            <ac:cxnSpMk id="18" creationId="{02901BD5-6B58-90DA-1180-D538BC74781B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5:52.903" v="1097" actId="1076"/>
          <ac:cxnSpMkLst>
            <pc:docMk/>
            <pc:sldMk cId="2336129016" sldId="390"/>
            <ac:cxnSpMk id="19" creationId="{22F6F3FC-E1F8-ECD3-F43E-1CEE61E618AB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0:16:08.085" v="320"/>
          <ac:cxnSpMkLst>
            <pc:docMk/>
            <pc:sldMk cId="2336129016" sldId="390"/>
            <ac:cxnSpMk id="22" creationId="{66609BB1-6784-EDAD-90B6-603C52B8134E}"/>
          </ac:cxnSpMkLst>
        </pc:cxnChg>
        <pc:cxnChg chg="add del mod">
          <ac:chgData name="Kalva, Sai" userId="S::yte2md@darden.virginia.edu::94f23aad-c8e0-4621-8c27-d8e269f9cd91" providerId="AD" clId="Web-{DA34909C-FF08-4B73-BEC9-FB43745BB014}" dt="2022-12-18T20:16:11.413" v="322"/>
          <ac:cxnSpMkLst>
            <pc:docMk/>
            <pc:sldMk cId="2336129016" sldId="390"/>
            <ac:cxnSpMk id="23" creationId="{5ACD5124-7943-A903-E6E1-323349A5B3F4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1:54.721" v="1054" actId="14100"/>
          <ac:cxnSpMkLst>
            <pc:docMk/>
            <pc:sldMk cId="2336129016" sldId="390"/>
            <ac:cxnSpMk id="24" creationId="{C929DBB7-EB56-78E5-B84C-C6889BC39063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9:12.614" v="1126" actId="1076"/>
          <ac:cxnSpMkLst>
            <pc:docMk/>
            <pc:sldMk cId="2336129016" sldId="390"/>
            <ac:cxnSpMk id="25" creationId="{2D92EB4F-3611-F098-7620-DA38DBEE7A10}"/>
          </ac:cxnSpMkLst>
        </pc:cxnChg>
        <pc:cxnChg chg="add mod">
          <ac:chgData name="Kalva, Sai" userId="S::yte2md@darden.virginia.edu::94f23aad-c8e0-4621-8c27-d8e269f9cd91" providerId="AD" clId="Web-{DA34909C-FF08-4B73-BEC9-FB43745BB014}" dt="2022-12-18T21:05:40.527" v="1095" actId="1076"/>
          <ac:cxnSpMkLst>
            <pc:docMk/>
            <pc:sldMk cId="2336129016" sldId="390"/>
            <ac:cxnSpMk id="26" creationId="{BD202255-BFBE-F5CF-CCC0-23E9C60524F5}"/>
          </ac:cxnSpMkLst>
        </pc:cxnChg>
      </pc:sldChg>
      <pc:sldChg chg="addSp delSp modSp add ord replId">
        <pc:chgData name="Kalva, Sai" userId="S::yte2md@darden.virginia.edu::94f23aad-c8e0-4621-8c27-d8e269f9cd91" providerId="AD" clId="Web-{DA34909C-FF08-4B73-BEC9-FB43745BB014}" dt="2022-12-18T19:42:39.543" v="87" actId="1076"/>
        <pc:sldMkLst>
          <pc:docMk/>
          <pc:sldMk cId="3905380672" sldId="391"/>
        </pc:sldMkLst>
        <pc:spChg chg="del mod">
          <ac:chgData name="Kalva, Sai" userId="S::yte2md@darden.virginia.edu::94f23aad-c8e0-4621-8c27-d8e269f9cd91" providerId="AD" clId="Web-{DA34909C-FF08-4B73-BEC9-FB43745BB014}" dt="2022-12-18T18:28:13.809" v="2"/>
          <ac:spMkLst>
            <pc:docMk/>
            <pc:sldMk cId="3905380672" sldId="391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DA34909C-FF08-4B73-BEC9-FB43745BB014}" dt="2022-12-18T19:33:41.876" v="20" actId="20577"/>
          <ac:spMkLst>
            <pc:docMk/>
            <pc:sldMk cId="3905380672" sldId="391"/>
            <ac:spMk id="3" creationId="{305F9436-CCF7-5AD1-7B91-8AFA3EBE05FE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19:42:39.543" v="87" actId="1076"/>
          <ac:spMkLst>
            <pc:docMk/>
            <pc:sldMk cId="3905380672" sldId="391"/>
            <ac:spMk id="6" creationId="{2236D48B-C0A3-6727-1EF3-ABE9A009E8F3}"/>
          </ac:spMkLst>
        </pc:spChg>
        <pc:graphicFrameChg chg="add del mod modGraphic">
          <ac:chgData name="Kalva, Sai" userId="S::yte2md@darden.virginia.edu::94f23aad-c8e0-4621-8c27-d8e269f9cd91" providerId="AD" clId="Web-{DA34909C-FF08-4B73-BEC9-FB43745BB014}" dt="2022-12-18T19:38:12.340" v="50"/>
          <ac:graphicFrameMkLst>
            <pc:docMk/>
            <pc:sldMk cId="3905380672" sldId="391"/>
            <ac:graphicFrameMk id="8" creationId="{A6AE509A-C1E9-0DAB-36DF-C0D69097F602}"/>
          </ac:graphicFrameMkLst>
        </pc:graphicFrameChg>
        <pc:picChg chg="add mod ord">
          <ac:chgData name="Kalva, Sai" userId="S::yte2md@darden.virginia.edu::94f23aad-c8e0-4621-8c27-d8e269f9cd91" providerId="AD" clId="Web-{DA34909C-FF08-4B73-BEC9-FB43745BB014}" dt="2022-12-18T19:42:35.085" v="86" actId="1076"/>
          <ac:picMkLst>
            <pc:docMk/>
            <pc:sldMk cId="3905380672" sldId="391"/>
            <ac:picMk id="4" creationId="{C7F8DE8B-9F8F-3FFD-227E-53CFF0323128}"/>
          </ac:picMkLst>
        </pc:picChg>
        <pc:picChg chg="add del mod">
          <ac:chgData name="Kalva, Sai" userId="S::yte2md@darden.virginia.edu::94f23aad-c8e0-4621-8c27-d8e269f9cd91" providerId="AD" clId="Web-{DA34909C-FF08-4B73-BEC9-FB43745BB014}" dt="2022-12-18T19:40:45.112" v="57"/>
          <ac:picMkLst>
            <pc:docMk/>
            <pc:sldMk cId="3905380672" sldId="391"/>
            <ac:picMk id="7" creationId="{8EFE525B-DE7E-710F-B1C5-11A2678A1680}"/>
          </ac:picMkLst>
        </pc:picChg>
      </pc:sldChg>
      <pc:sldChg chg="addSp delSp modSp add del replId">
        <pc:chgData name="Kalva, Sai" userId="S::yte2md@darden.virginia.edu::94f23aad-c8e0-4621-8c27-d8e269f9cd91" providerId="AD" clId="Web-{DA34909C-FF08-4B73-BEC9-FB43745BB014}" dt="2022-12-18T20:00:12.305" v="98"/>
        <pc:sldMkLst>
          <pc:docMk/>
          <pc:sldMk cId="435305919" sldId="2141410973"/>
        </pc:sldMkLst>
        <pc:spChg chg="del">
          <ac:chgData name="Kalva, Sai" userId="S::yte2md@darden.virginia.edu::94f23aad-c8e0-4621-8c27-d8e269f9cd91" providerId="AD" clId="Web-{DA34909C-FF08-4B73-BEC9-FB43745BB014}" dt="2022-12-18T19:51:26.002" v="90"/>
          <ac:spMkLst>
            <pc:docMk/>
            <pc:sldMk cId="435305919" sldId="2141410973"/>
            <ac:spMk id="6" creationId="{2236D48B-C0A3-6727-1EF3-ABE9A009E8F3}"/>
          </ac:spMkLst>
        </pc:spChg>
        <pc:spChg chg="add mod">
          <ac:chgData name="Kalva, Sai" userId="S::yte2md@darden.virginia.edu::94f23aad-c8e0-4621-8c27-d8e269f9cd91" providerId="AD" clId="Web-{DA34909C-FF08-4B73-BEC9-FB43745BB014}" dt="2022-12-18T19:53:47.211" v="97" actId="20577"/>
          <ac:spMkLst>
            <pc:docMk/>
            <pc:sldMk cId="435305919" sldId="2141410973"/>
            <ac:spMk id="7" creationId="{CFC445D7-A53B-5AB6-F4D9-90242E468EA8}"/>
          </ac:spMkLst>
        </pc:spChg>
        <pc:picChg chg="del">
          <ac:chgData name="Kalva, Sai" userId="S::yte2md@darden.virginia.edu::94f23aad-c8e0-4621-8c27-d8e269f9cd91" providerId="AD" clId="Web-{DA34909C-FF08-4B73-BEC9-FB43745BB014}" dt="2022-12-18T19:51:22.736" v="89"/>
          <ac:picMkLst>
            <pc:docMk/>
            <pc:sldMk cId="435305919" sldId="2141410973"/>
            <ac:picMk id="4" creationId="{C7F8DE8B-9F8F-3FFD-227E-53CFF0323128}"/>
          </ac:picMkLst>
        </pc:picChg>
      </pc:sldChg>
    </pc:docChg>
  </pc:docChgLst>
  <pc:docChgLst>
    <pc:chgData name="Kalva, Sai" userId="S::yte2md@darden.virginia.edu::94f23aad-c8e0-4621-8c27-d8e269f9cd91" providerId="AD" clId="Web-{CF77823F-5F38-4B32-838F-750B4F4F73EF}"/>
    <pc:docChg chg="modSld">
      <pc:chgData name="Kalva, Sai" userId="S::yte2md@darden.virginia.edu::94f23aad-c8e0-4621-8c27-d8e269f9cd91" providerId="AD" clId="Web-{CF77823F-5F38-4B32-838F-750B4F4F73EF}" dt="2022-12-17T19:58:13.670" v="11" actId="20577"/>
      <pc:docMkLst>
        <pc:docMk/>
      </pc:docMkLst>
      <pc:sldChg chg="delSp modSp">
        <pc:chgData name="Kalva, Sai" userId="S::yte2md@darden.virginia.edu::94f23aad-c8e0-4621-8c27-d8e269f9cd91" providerId="AD" clId="Web-{CF77823F-5F38-4B32-838F-750B4F4F73EF}" dt="2022-12-17T19:58:13.670" v="11" actId="20577"/>
        <pc:sldMkLst>
          <pc:docMk/>
          <pc:sldMk cId="870337942" sldId="369"/>
        </pc:sldMkLst>
        <pc:spChg chg="mod">
          <ac:chgData name="Kalva, Sai" userId="S::yte2md@darden.virginia.edu::94f23aad-c8e0-4621-8c27-d8e269f9cd91" providerId="AD" clId="Web-{CF77823F-5F38-4B32-838F-750B4F4F73EF}" dt="2022-12-17T19:58:13.670" v="11" actId="20577"/>
          <ac:spMkLst>
            <pc:docMk/>
            <pc:sldMk cId="870337942" sldId="369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CF77823F-5F38-4B32-838F-750B4F4F73EF}" dt="2022-12-17T19:57:33.965" v="6" actId="14100"/>
          <ac:spMkLst>
            <pc:docMk/>
            <pc:sldMk cId="870337942" sldId="369"/>
            <ac:spMk id="3" creationId="{305F9436-CCF7-5AD1-7B91-8AFA3EBE05FE}"/>
          </ac:spMkLst>
        </pc:spChg>
        <pc:spChg chg="del">
          <ac:chgData name="Kalva, Sai" userId="S::yte2md@darden.virginia.edu::94f23aad-c8e0-4621-8c27-d8e269f9cd91" providerId="AD" clId="Web-{CF77823F-5F38-4B32-838F-750B4F4F73EF}" dt="2022-12-17T19:57:27.715" v="4"/>
          <ac:spMkLst>
            <pc:docMk/>
            <pc:sldMk cId="870337942" sldId="369"/>
            <ac:spMk id="4" creationId="{5C1F08BB-CC62-6E94-9EC2-A5B57DA2E510}"/>
          </ac:spMkLst>
        </pc:spChg>
      </pc:sldChg>
    </pc:docChg>
  </pc:docChgLst>
  <pc:docChgLst>
    <pc:chgData name="Kalva, Sai" userId="S::yte2md@darden.virginia.edu::94f23aad-c8e0-4621-8c27-d8e269f9cd91" providerId="AD" clId="Web-{48CAC14A-1D7E-4FFF-A238-20A05812BA2C}"/>
    <pc:docChg chg="modSld">
      <pc:chgData name="Kalva, Sai" userId="S::yte2md@darden.virginia.edu::94f23aad-c8e0-4621-8c27-d8e269f9cd91" providerId="AD" clId="Web-{48CAC14A-1D7E-4FFF-A238-20A05812BA2C}" dt="2022-12-07T16:03:17.634" v="6" actId="20577"/>
      <pc:docMkLst>
        <pc:docMk/>
      </pc:docMkLst>
      <pc:sldChg chg="modSp">
        <pc:chgData name="Kalva, Sai" userId="S::yte2md@darden.virginia.edu::94f23aad-c8e0-4621-8c27-d8e269f9cd91" providerId="AD" clId="Web-{48CAC14A-1D7E-4FFF-A238-20A05812BA2C}" dt="2022-12-07T16:03:17.634" v="6" actId="20577"/>
        <pc:sldMkLst>
          <pc:docMk/>
          <pc:sldMk cId="1656785204" sldId="292"/>
        </pc:sldMkLst>
        <pc:spChg chg="mod">
          <ac:chgData name="Kalva, Sai" userId="S::yte2md@darden.virginia.edu::94f23aad-c8e0-4621-8c27-d8e269f9cd91" providerId="AD" clId="Web-{48CAC14A-1D7E-4FFF-A238-20A05812BA2C}" dt="2022-12-07T16:03:17.634" v="6" actId="20577"/>
          <ac:spMkLst>
            <pc:docMk/>
            <pc:sldMk cId="1656785204" sldId="292"/>
            <ac:spMk id="3" creationId="{2EE6B358-6009-4239-929B-222F228FEA75}"/>
          </ac:spMkLst>
        </pc:spChg>
      </pc:sldChg>
    </pc:docChg>
  </pc:docChgLst>
  <pc:docChgLst>
    <pc:chgData name="Kalva, Sai" userId="S::yte2md@darden.virginia.edu::94f23aad-c8e0-4621-8c27-d8e269f9cd91" providerId="AD" clId="Web-{135062ED-8284-485B-8486-65D38DBEB0C0}"/>
    <pc:docChg chg="modSld">
      <pc:chgData name="Kalva, Sai" userId="S::yte2md@darden.virginia.edu::94f23aad-c8e0-4621-8c27-d8e269f9cd91" providerId="AD" clId="Web-{135062ED-8284-485B-8486-65D38DBEB0C0}" dt="2022-12-10T22:18:32.094" v="84" actId="14100"/>
      <pc:docMkLst>
        <pc:docMk/>
      </pc:docMkLst>
      <pc:sldChg chg="delSp modSp">
        <pc:chgData name="Kalva, Sai" userId="S::yte2md@darden.virginia.edu::94f23aad-c8e0-4621-8c27-d8e269f9cd91" providerId="AD" clId="Web-{135062ED-8284-485B-8486-65D38DBEB0C0}" dt="2022-12-10T22:15:14.400" v="71" actId="14100"/>
        <pc:sldMkLst>
          <pc:docMk/>
          <pc:sldMk cId="1694008698" sldId="368"/>
        </pc:sldMkLst>
        <pc:spChg chg="del">
          <ac:chgData name="Kalva, Sai" userId="S::yte2md@darden.virginia.edu::94f23aad-c8e0-4621-8c27-d8e269f9cd91" providerId="AD" clId="Web-{135062ED-8284-485B-8486-65D38DBEB0C0}" dt="2022-12-10T22:06:20.163" v="56"/>
          <ac:spMkLst>
            <pc:docMk/>
            <pc:sldMk cId="1694008698" sldId="368"/>
            <ac:spMk id="2" creationId="{FF315461-569B-CB9F-1610-406870F86476}"/>
          </ac:spMkLst>
        </pc:spChg>
        <pc:spChg chg="mod">
          <ac:chgData name="Kalva, Sai" userId="S::yte2md@darden.virginia.edu::94f23aad-c8e0-4621-8c27-d8e269f9cd91" providerId="AD" clId="Web-{135062ED-8284-485B-8486-65D38DBEB0C0}" dt="2022-12-10T22:06:25.148" v="57" actId="1076"/>
          <ac:spMkLst>
            <pc:docMk/>
            <pc:sldMk cId="1694008698" sldId="368"/>
            <ac:spMk id="3" creationId="{B51BA7AC-39C0-1CCC-4B61-AF84C5E375DB}"/>
          </ac:spMkLst>
        </pc:spChg>
        <pc:spChg chg="mod">
          <ac:chgData name="Kalva, Sai" userId="S::yte2md@darden.virginia.edu::94f23aad-c8e0-4621-8c27-d8e269f9cd91" providerId="AD" clId="Web-{135062ED-8284-485B-8486-65D38DBEB0C0}" dt="2022-12-10T22:15:14.400" v="71" actId="14100"/>
          <ac:spMkLst>
            <pc:docMk/>
            <pc:sldMk cId="1694008698" sldId="368"/>
            <ac:spMk id="4" creationId="{D1541650-39E7-C049-DA55-4F81F25D45E3}"/>
          </ac:spMkLst>
        </pc:spChg>
      </pc:sldChg>
      <pc:sldChg chg="addSp delSp modSp">
        <pc:chgData name="Kalva, Sai" userId="S::yte2md@darden.virginia.edu::94f23aad-c8e0-4621-8c27-d8e269f9cd91" providerId="AD" clId="Web-{135062ED-8284-485B-8486-65D38DBEB0C0}" dt="2022-12-10T22:18:32.094" v="84" actId="14100"/>
        <pc:sldMkLst>
          <pc:docMk/>
          <pc:sldMk cId="204068251" sldId="374"/>
        </pc:sldMkLst>
        <pc:spChg chg="del">
          <ac:chgData name="Kalva, Sai" userId="S::yte2md@darden.virginia.edu::94f23aad-c8e0-4621-8c27-d8e269f9cd91" providerId="AD" clId="Web-{135062ED-8284-485B-8486-65D38DBEB0C0}" dt="2022-12-10T22:16:59.200" v="75"/>
          <ac:spMkLst>
            <pc:docMk/>
            <pc:sldMk cId="204068251" sldId="374"/>
            <ac:spMk id="2" creationId="{CF1258F7-8BB6-25D7-25BB-A57286977D5B}"/>
          </ac:spMkLst>
        </pc:spChg>
        <pc:spChg chg="mod">
          <ac:chgData name="Kalva, Sai" userId="S::yte2md@darden.virginia.edu::94f23aad-c8e0-4621-8c27-d8e269f9cd91" providerId="AD" clId="Web-{135062ED-8284-485B-8486-65D38DBEB0C0}" dt="2022-12-10T22:17:12.575" v="78" actId="20577"/>
          <ac:spMkLst>
            <pc:docMk/>
            <pc:sldMk cId="204068251" sldId="374"/>
            <ac:spMk id="3" creationId="{B263EB24-4EBD-C158-9509-5F238A94E16D}"/>
          </ac:spMkLst>
        </pc:spChg>
        <pc:spChg chg="del">
          <ac:chgData name="Kalva, Sai" userId="S::yte2md@darden.virginia.edu::94f23aad-c8e0-4621-8c27-d8e269f9cd91" providerId="AD" clId="Web-{135062ED-8284-485B-8486-65D38DBEB0C0}" dt="2022-12-10T22:15:25.041" v="72"/>
          <ac:spMkLst>
            <pc:docMk/>
            <pc:sldMk cId="204068251" sldId="374"/>
            <ac:spMk id="4" creationId="{2782EFFE-6FF7-2CE6-AB54-1FCBDBE640BE}"/>
          </ac:spMkLst>
        </pc:spChg>
        <pc:spChg chg="add mod">
          <ac:chgData name="Kalva, Sai" userId="S::yte2md@darden.virginia.edu::94f23aad-c8e0-4621-8c27-d8e269f9cd91" providerId="AD" clId="Web-{135062ED-8284-485B-8486-65D38DBEB0C0}" dt="2022-12-10T22:18:32.094" v="84" actId="14100"/>
          <ac:spMkLst>
            <pc:docMk/>
            <pc:sldMk cId="204068251" sldId="374"/>
            <ac:spMk id="8" creationId="{77924687-9AA3-CD96-2382-DB9AAD25FD73}"/>
          </ac:spMkLst>
        </pc:spChg>
        <pc:picChg chg="add mod ord">
          <ac:chgData name="Kalva, Sai" userId="S::yte2md@darden.virginia.edu::94f23aad-c8e0-4621-8c27-d8e269f9cd91" providerId="AD" clId="Web-{135062ED-8284-485B-8486-65D38DBEB0C0}" dt="2022-12-10T22:17:02.216" v="76" actId="1076"/>
          <ac:picMkLst>
            <pc:docMk/>
            <pc:sldMk cId="204068251" sldId="374"/>
            <ac:picMk id="6" creationId="{EA0A25D2-9FB8-C551-96F9-22F050A966DE}"/>
          </ac:picMkLst>
        </pc:picChg>
      </pc:sldChg>
    </pc:docChg>
  </pc:docChgLst>
  <pc:docChgLst>
    <pc:chgData name="Li, Katrina" userId="d5a66c08-f3e0-4c8b-8867-c35572346045" providerId="ADAL" clId="{065E949B-2E3F-471B-A006-402445D5F868}"/>
    <pc:docChg chg="undo custSel addSld delSld modSld sldOrd modSection">
      <pc:chgData name="Li, Katrina" userId="d5a66c08-f3e0-4c8b-8867-c35572346045" providerId="ADAL" clId="{065E949B-2E3F-471B-A006-402445D5F868}" dt="2022-12-19T03:38:57.194" v="4041" actId="20577"/>
      <pc:docMkLst>
        <pc:docMk/>
      </pc:docMkLst>
      <pc:sldChg chg="addSp delSp modSp mod ord">
        <pc:chgData name="Li, Katrina" userId="d5a66c08-f3e0-4c8b-8867-c35572346045" providerId="ADAL" clId="{065E949B-2E3F-471B-A006-402445D5F868}" dt="2022-12-14T23:13:57.395" v="1704" actId="20577"/>
        <pc:sldMkLst>
          <pc:docMk/>
          <pc:sldMk cId="4036484097" sldId="370"/>
        </pc:sldMkLst>
        <pc:spChg chg="del">
          <ac:chgData name="Li, Katrina" userId="d5a66c08-f3e0-4c8b-8867-c35572346045" providerId="ADAL" clId="{065E949B-2E3F-471B-A006-402445D5F868}" dt="2022-12-13T23:44:40.239" v="0"/>
          <ac:spMkLst>
            <pc:docMk/>
            <pc:sldMk cId="4036484097" sldId="370"/>
            <ac:spMk id="2" creationId="{2258F4F8-FD96-2A9F-7359-331BC5A4A3E3}"/>
          </ac:spMkLst>
        </pc:spChg>
        <pc:spChg chg="add mod">
          <ac:chgData name="Li, Katrina" userId="d5a66c08-f3e0-4c8b-8867-c35572346045" providerId="ADAL" clId="{065E949B-2E3F-471B-A006-402445D5F868}" dt="2022-12-14T23:13:57.395" v="1704" actId="20577"/>
          <ac:spMkLst>
            <pc:docMk/>
            <pc:sldMk cId="4036484097" sldId="370"/>
            <ac:spMk id="6" creationId="{9EF23ADD-8F65-8773-9F0D-7C9173CE04CC}"/>
          </ac:spMkLst>
        </pc:spChg>
      </pc:sldChg>
      <pc:sldChg chg="addSp delSp modSp add mod">
        <pc:chgData name="Li, Katrina" userId="d5a66c08-f3e0-4c8b-8867-c35572346045" providerId="ADAL" clId="{065E949B-2E3F-471B-A006-402445D5F868}" dt="2022-12-14T03:18:01.206" v="1296" actId="1076"/>
        <pc:sldMkLst>
          <pc:docMk/>
          <pc:sldMk cId="561630481" sldId="377"/>
        </pc:sldMkLst>
        <pc:spChg chg="mod">
          <ac:chgData name="Li, Katrina" userId="d5a66c08-f3e0-4c8b-8867-c35572346045" providerId="ADAL" clId="{065E949B-2E3F-471B-A006-402445D5F868}" dt="2022-12-14T03:16:25.783" v="1216" actId="1076"/>
          <ac:spMkLst>
            <pc:docMk/>
            <pc:sldMk cId="561630481" sldId="377"/>
            <ac:spMk id="3" creationId="{305F9436-CCF7-5AD1-7B91-8AFA3EBE05FE}"/>
          </ac:spMkLst>
        </pc:spChg>
        <pc:spChg chg="del">
          <ac:chgData name="Li, Katrina" userId="d5a66c08-f3e0-4c8b-8867-c35572346045" providerId="ADAL" clId="{065E949B-2E3F-471B-A006-402445D5F868}" dt="2022-12-14T01:03:06.598" v="184" actId="478"/>
          <ac:spMkLst>
            <pc:docMk/>
            <pc:sldMk cId="561630481" sldId="377"/>
            <ac:spMk id="5" creationId="{40A2CAAB-A90B-2A37-95C1-4E1E85C4AA57}"/>
          </ac:spMkLst>
        </pc:spChg>
        <pc:spChg chg="del mod">
          <ac:chgData name="Li, Katrina" userId="d5a66c08-f3e0-4c8b-8867-c35572346045" providerId="ADAL" clId="{065E949B-2E3F-471B-A006-402445D5F868}" dt="2022-12-14T00:48:21.156" v="48" actId="22"/>
          <ac:spMkLst>
            <pc:docMk/>
            <pc:sldMk cId="561630481" sldId="377"/>
            <ac:spMk id="6" creationId="{9EF23ADD-8F65-8773-9F0D-7C9173CE04CC}"/>
          </ac:spMkLst>
        </pc:spChg>
        <pc:spChg chg="add mod">
          <ac:chgData name="Li, Katrina" userId="d5a66c08-f3e0-4c8b-8867-c35572346045" providerId="ADAL" clId="{065E949B-2E3F-471B-A006-402445D5F868}" dt="2022-12-14T03:17:26.929" v="1234" actId="21"/>
          <ac:spMkLst>
            <pc:docMk/>
            <pc:sldMk cId="561630481" sldId="377"/>
            <ac:spMk id="8" creationId="{A6A5EF43-363C-6DD9-3F79-203EFFB794DC}"/>
          </ac:spMkLst>
        </pc:spChg>
        <pc:spChg chg="add mod">
          <ac:chgData name="Li, Katrina" userId="d5a66c08-f3e0-4c8b-8867-c35572346045" providerId="ADAL" clId="{065E949B-2E3F-471B-A006-402445D5F868}" dt="2022-12-14T03:16:16.237" v="1214" actId="1036"/>
          <ac:spMkLst>
            <pc:docMk/>
            <pc:sldMk cId="561630481" sldId="377"/>
            <ac:spMk id="13" creationId="{D1224C11-4941-1534-36D9-3270560AF1F2}"/>
          </ac:spMkLst>
        </pc:spChg>
        <pc:spChg chg="add del mod">
          <ac:chgData name="Li, Katrina" userId="d5a66c08-f3e0-4c8b-8867-c35572346045" providerId="ADAL" clId="{065E949B-2E3F-471B-A006-402445D5F868}" dt="2022-12-14T01:41:56.882" v="555" actId="478"/>
          <ac:spMkLst>
            <pc:docMk/>
            <pc:sldMk cId="561630481" sldId="377"/>
            <ac:spMk id="14" creationId="{FB6D3F09-EAF4-1B6E-0E56-D19E9535120D}"/>
          </ac:spMkLst>
        </pc:spChg>
        <pc:spChg chg="add del mod">
          <ac:chgData name="Li, Katrina" userId="d5a66c08-f3e0-4c8b-8867-c35572346045" providerId="ADAL" clId="{065E949B-2E3F-471B-A006-402445D5F868}" dt="2022-12-14T03:16:19.694" v="1215" actId="478"/>
          <ac:spMkLst>
            <pc:docMk/>
            <pc:sldMk cId="561630481" sldId="377"/>
            <ac:spMk id="17" creationId="{A5388C7F-CA10-CE77-35A9-87191CB3A888}"/>
          </ac:spMkLst>
        </pc:spChg>
        <pc:spChg chg="add mod">
          <ac:chgData name="Li, Katrina" userId="d5a66c08-f3e0-4c8b-8867-c35572346045" providerId="ADAL" clId="{065E949B-2E3F-471B-A006-402445D5F868}" dt="2022-12-14T03:18:01.206" v="1296" actId="1076"/>
          <ac:spMkLst>
            <pc:docMk/>
            <pc:sldMk cId="561630481" sldId="377"/>
            <ac:spMk id="22" creationId="{63018E29-4699-843E-0D41-8CCF738F2D36}"/>
          </ac:spMkLst>
        </pc:spChg>
        <pc:picChg chg="add mod ord">
          <ac:chgData name="Li, Katrina" userId="d5a66c08-f3e0-4c8b-8867-c35572346045" providerId="ADAL" clId="{065E949B-2E3F-471B-A006-402445D5F868}" dt="2022-12-14T03:16:16.237" v="1214" actId="1036"/>
          <ac:picMkLst>
            <pc:docMk/>
            <pc:sldMk cId="561630481" sldId="377"/>
            <ac:picMk id="7" creationId="{7BD52343-93BF-A0E3-8B35-F08849CE2F6D}"/>
          </ac:picMkLst>
        </pc:picChg>
        <pc:picChg chg="add del mod">
          <ac:chgData name="Li, Katrina" userId="d5a66c08-f3e0-4c8b-8867-c35572346045" providerId="ADAL" clId="{065E949B-2E3F-471B-A006-402445D5F868}" dt="2022-12-14T03:15:00.820" v="1165" actId="478"/>
          <ac:picMkLst>
            <pc:docMk/>
            <pc:sldMk cId="561630481" sldId="377"/>
            <ac:picMk id="10" creationId="{837C7D20-9416-1EBF-3E30-8E95A467E566}"/>
          </ac:picMkLst>
        </pc:picChg>
        <pc:picChg chg="add del mod">
          <ac:chgData name="Li, Katrina" userId="d5a66c08-f3e0-4c8b-8867-c35572346045" providerId="ADAL" clId="{065E949B-2E3F-471B-A006-402445D5F868}" dt="2022-12-14T01:41:59.424" v="556" actId="478"/>
          <ac:picMkLst>
            <pc:docMk/>
            <pc:sldMk cId="561630481" sldId="377"/>
            <ac:picMk id="12" creationId="{8AED06F7-80CA-AD63-9FD3-026AA8A3716B}"/>
          </ac:picMkLst>
        </pc:picChg>
        <pc:picChg chg="add mod modCrop">
          <ac:chgData name="Li, Katrina" userId="d5a66c08-f3e0-4c8b-8867-c35572346045" providerId="ADAL" clId="{065E949B-2E3F-471B-A006-402445D5F868}" dt="2022-12-14T03:16:16.237" v="1214" actId="1036"/>
          <ac:picMkLst>
            <pc:docMk/>
            <pc:sldMk cId="561630481" sldId="377"/>
            <ac:picMk id="16" creationId="{312A061C-12F0-6DCB-AE75-23E81FB18B3A}"/>
          </ac:picMkLst>
        </pc:picChg>
        <pc:picChg chg="add mod">
          <ac:chgData name="Li, Katrina" userId="d5a66c08-f3e0-4c8b-8867-c35572346045" providerId="ADAL" clId="{065E949B-2E3F-471B-A006-402445D5F868}" dt="2022-12-14T03:16:16.237" v="1214" actId="1036"/>
          <ac:picMkLst>
            <pc:docMk/>
            <pc:sldMk cId="561630481" sldId="377"/>
            <ac:picMk id="19" creationId="{090DAE04-0C5A-1590-0587-9B3C21811EAC}"/>
          </ac:picMkLst>
        </pc:picChg>
        <pc:picChg chg="add mod">
          <ac:chgData name="Li, Katrina" userId="d5a66c08-f3e0-4c8b-8867-c35572346045" providerId="ADAL" clId="{065E949B-2E3F-471B-A006-402445D5F868}" dt="2022-12-14T03:16:16.237" v="1214" actId="1036"/>
          <ac:picMkLst>
            <pc:docMk/>
            <pc:sldMk cId="561630481" sldId="377"/>
            <ac:picMk id="21" creationId="{8B5F5697-5209-0DCB-4316-CE080E86A380}"/>
          </ac:picMkLst>
        </pc:picChg>
      </pc:sldChg>
      <pc:sldChg chg="addSp delSp modSp add del mod">
        <pc:chgData name="Li, Katrina" userId="d5a66c08-f3e0-4c8b-8867-c35572346045" providerId="ADAL" clId="{065E949B-2E3F-471B-A006-402445D5F868}" dt="2022-12-14T03:10:23.374" v="1029" actId="47"/>
        <pc:sldMkLst>
          <pc:docMk/>
          <pc:sldMk cId="1208244456" sldId="378"/>
        </pc:sldMkLst>
        <pc:spChg chg="add del mod">
          <ac:chgData name="Li, Katrina" userId="d5a66c08-f3e0-4c8b-8867-c35572346045" providerId="ADAL" clId="{065E949B-2E3F-471B-A006-402445D5F868}" dt="2022-12-14T01:35:46.919" v="373" actId="478"/>
          <ac:spMkLst>
            <pc:docMk/>
            <pc:sldMk cId="1208244456" sldId="378"/>
            <ac:spMk id="2" creationId="{252B70F7-073C-A571-697C-9C94D52A66A8}"/>
          </ac:spMkLst>
        </pc:spChg>
        <pc:spChg chg="mod">
          <ac:chgData name="Li, Katrina" userId="d5a66c08-f3e0-4c8b-8867-c35572346045" providerId="ADAL" clId="{065E949B-2E3F-471B-A006-402445D5F868}" dt="2022-12-14T01:39:53.873" v="502" actId="1076"/>
          <ac:spMkLst>
            <pc:docMk/>
            <pc:sldMk cId="1208244456" sldId="378"/>
            <ac:spMk id="3" creationId="{305F9436-CCF7-5AD1-7B91-8AFA3EBE05FE}"/>
          </ac:spMkLst>
        </pc:spChg>
        <pc:spChg chg="del">
          <ac:chgData name="Li, Katrina" userId="d5a66c08-f3e0-4c8b-8867-c35572346045" providerId="ADAL" clId="{065E949B-2E3F-471B-A006-402445D5F868}" dt="2022-12-14T01:36:39.178" v="377" actId="478"/>
          <ac:spMkLst>
            <pc:docMk/>
            <pc:sldMk cId="1208244456" sldId="378"/>
            <ac:spMk id="8" creationId="{A6A5EF43-363C-6DD9-3F79-203EFFB794DC}"/>
          </ac:spMkLst>
        </pc:spChg>
        <pc:spChg chg="add mod">
          <ac:chgData name="Li, Katrina" userId="d5a66c08-f3e0-4c8b-8867-c35572346045" providerId="ADAL" clId="{065E949B-2E3F-471B-A006-402445D5F868}" dt="2022-12-14T01:39:58.876" v="504" actId="1036"/>
          <ac:spMkLst>
            <pc:docMk/>
            <pc:sldMk cId="1208244456" sldId="378"/>
            <ac:spMk id="9" creationId="{6A2B2EF1-648A-EB65-2108-1C9F0DC985FA}"/>
          </ac:spMkLst>
        </pc:spChg>
        <pc:spChg chg="del">
          <ac:chgData name="Li, Katrina" userId="d5a66c08-f3e0-4c8b-8867-c35572346045" providerId="ADAL" clId="{065E949B-2E3F-471B-A006-402445D5F868}" dt="2022-12-14T01:36:37.436" v="376" actId="478"/>
          <ac:spMkLst>
            <pc:docMk/>
            <pc:sldMk cId="1208244456" sldId="378"/>
            <ac:spMk id="13" creationId="{D1224C11-4941-1534-36D9-3270560AF1F2}"/>
          </ac:spMkLst>
        </pc:spChg>
        <pc:spChg chg="del">
          <ac:chgData name="Li, Katrina" userId="d5a66c08-f3e0-4c8b-8867-c35572346045" providerId="ADAL" clId="{065E949B-2E3F-471B-A006-402445D5F868}" dt="2022-12-14T01:36:41.031" v="378" actId="478"/>
          <ac:spMkLst>
            <pc:docMk/>
            <pc:sldMk cId="1208244456" sldId="378"/>
            <ac:spMk id="14" creationId="{FB6D3F09-EAF4-1B6E-0E56-D19E9535120D}"/>
          </ac:spMkLst>
        </pc:spChg>
        <pc:picChg chg="add mod modCrop">
          <ac:chgData name="Li, Katrina" userId="d5a66c08-f3e0-4c8b-8867-c35572346045" providerId="ADAL" clId="{065E949B-2E3F-471B-A006-402445D5F868}" dt="2022-12-14T01:39:23.113" v="494" actId="1036"/>
          <ac:picMkLst>
            <pc:docMk/>
            <pc:sldMk cId="1208244456" sldId="378"/>
            <ac:picMk id="6" creationId="{19E9C609-7A30-9846-0F2E-DEB80E3FFA4B}"/>
          </ac:picMkLst>
        </pc:picChg>
        <pc:picChg chg="del">
          <ac:chgData name="Li, Katrina" userId="d5a66c08-f3e0-4c8b-8867-c35572346045" providerId="ADAL" clId="{065E949B-2E3F-471B-A006-402445D5F868}" dt="2022-12-14T01:35:44.232" v="371" actId="478"/>
          <ac:picMkLst>
            <pc:docMk/>
            <pc:sldMk cId="1208244456" sldId="378"/>
            <ac:picMk id="7" creationId="{7BD52343-93BF-A0E3-8B35-F08849CE2F6D}"/>
          </ac:picMkLst>
        </pc:picChg>
        <pc:picChg chg="del">
          <ac:chgData name="Li, Katrina" userId="d5a66c08-f3e0-4c8b-8867-c35572346045" providerId="ADAL" clId="{065E949B-2E3F-471B-A006-402445D5F868}" dt="2022-12-14T01:35:48.031" v="374" actId="478"/>
          <ac:picMkLst>
            <pc:docMk/>
            <pc:sldMk cId="1208244456" sldId="378"/>
            <ac:picMk id="10" creationId="{837C7D20-9416-1EBF-3E30-8E95A467E566}"/>
          </ac:picMkLst>
        </pc:picChg>
        <pc:picChg chg="del">
          <ac:chgData name="Li, Katrina" userId="d5a66c08-f3e0-4c8b-8867-c35572346045" providerId="ADAL" clId="{065E949B-2E3F-471B-A006-402445D5F868}" dt="2022-12-14T01:35:49.144" v="375" actId="478"/>
          <ac:picMkLst>
            <pc:docMk/>
            <pc:sldMk cId="1208244456" sldId="378"/>
            <ac:picMk id="12" creationId="{8AED06F7-80CA-AD63-9FD3-026AA8A3716B}"/>
          </ac:picMkLst>
        </pc:picChg>
      </pc:sldChg>
      <pc:sldChg chg="addSp delSp modSp add mod">
        <pc:chgData name="Li, Katrina" userId="d5a66c08-f3e0-4c8b-8867-c35572346045" providerId="ADAL" clId="{065E949B-2E3F-471B-A006-402445D5F868}" dt="2022-12-14T01:40:54.432" v="530" actId="1076"/>
        <pc:sldMkLst>
          <pc:docMk/>
          <pc:sldMk cId="2852348994" sldId="379"/>
        </pc:sldMkLst>
        <pc:spChg chg="mod">
          <ac:chgData name="Li, Katrina" userId="d5a66c08-f3e0-4c8b-8867-c35572346045" providerId="ADAL" clId="{065E949B-2E3F-471B-A006-402445D5F868}" dt="2022-12-14T01:39:49.379" v="501" actId="1076"/>
          <ac:spMkLst>
            <pc:docMk/>
            <pc:sldMk cId="2852348994" sldId="379"/>
            <ac:spMk id="3" creationId="{305F9436-CCF7-5AD1-7B91-8AFA3EBE05FE}"/>
          </ac:spMkLst>
        </pc:spChg>
        <pc:spChg chg="add mod">
          <ac:chgData name="Li, Katrina" userId="d5a66c08-f3e0-4c8b-8867-c35572346045" providerId="ADAL" clId="{065E949B-2E3F-471B-A006-402445D5F868}" dt="2022-12-14T01:40:54.432" v="530" actId="1076"/>
          <ac:spMkLst>
            <pc:docMk/>
            <pc:sldMk cId="2852348994" sldId="379"/>
            <ac:spMk id="8" creationId="{3887E388-A046-8069-1254-8C48B3A5A8F1}"/>
          </ac:spMkLst>
        </pc:spChg>
        <pc:picChg chg="add mod modCrop">
          <ac:chgData name="Li, Katrina" userId="d5a66c08-f3e0-4c8b-8867-c35572346045" providerId="ADAL" clId="{065E949B-2E3F-471B-A006-402445D5F868}" dt="2022-12-14T01:39:40.392" v="497" actId="1076"/>
          <ac:picMkLst>
            <pc:docMk/>
            <pc:sldMk cId="2852348994" sldId="379"/>
            <ac:picMk id="5" creationId="{7EB6B68C-4A96-ABF9-4EE2-AFF705D7BA7A}"/>
          </ac:picMkLst>
        </pc:picChg>
        <pc:picChg chg="del">
          <ac:chgData name="Li, Katrina" userId="d5a66c08-f3e0-4c8b-8867-c35572346045" providerId="ADAL" clId="{065E949B-2E3F-471B-A006-402445D5F868}" dt="2022-12-14T01:37:39.829" v="383" actId="478"/>
          <ac:picMkLst>
            <pc:docMk/>
            <pc:sldMk cId="2852348994" sldId="379"/>
            <ac:picMk id="6" creationId="{19E9C609-7A30-9846-0F2E-DEB80E3FFA4B}"/>
          </ac:picMkLst>
        </pc:picChg>
      </pc:sldChg>
      <pc:sldChg chg="addSp delSp modSp add mod">
        <pc:chgData name="Li, Katrina" userId="d5a66c08-f3e0-4c8b-8867-c35572346045" providerId="ADAL" clId="{065E949B-2E3F-471B-A006-402445D5F868}" dt="2022-12-14T03:06:36.054" v="1024" actId="313"/>
        <pc:sldMkLst>
          <pc:docMk/>
          <pc:sldMk cId="3087090011" sldId="380"/>
        </pc:sldMkLst>
        <pc:spChg chg="mod">
          <ac:chgData name="Li, Katrina" userId="d5a66c08-f3e0-4c8b-8867-c35572346045" providerId="ADAL" clId="{065E949B-2E3F-471B-A006-402445D5F868}" dt="2022-12-14T02:59:59.056" v="759" actId="14100"/>
          <ac:spMkLst>
            <pc:docMk/>
            <pc:sldMk cId="3087090011" sldId="380"/>
            <ac:spMk id="3" creationId="{305F9436-CCF7-5AD1-7B91-8AFA3EBE05FE}"/>
          </ac:spMkLst>
        </pc:spChg>
        <pc:spChg chg="mod">
          <ac:chgData name="Li, Katrina" userId="d5a66c08-f3e0-4c8b-8867-c35572346045" providerId="ADAL" clId="{065E949B-2E3F-471B-A006-402445D5F868}" dt="2022-12-14T03:05:02.332" v="913" actId="14100"/>
          <ac:spMkLst>
            <pc:docMk/>
            <pc:sldMk cId="3087090011" sldId="380"/>
            <ac:spMk id="8" creationId="{3887E388-A046-8069-1254-8C48B3A5A8F1}"/>
          </ac:spMkLst>
        </pc:spChg>
        <pc:spChg chg="add mod">
          <ac:chgData name="Li, Katrina" userId="d5a66c08-f3e0-4c8b-8867-c35572346045" providerId="ADAL" clId="{065E949B-2E3F-471B-A006-402445D5F868}" dt="2022-12-14T03:06:36.054" v="1024" actId="313"/>
          <ac:spMkLst>
            <pc:docMk/>
            <pc:sldMk cId="3087090011" sldId="380"/>
            <ac:spMk id="15" creationId="{193726CA-95D4-66C1-E867-06FE7B36E9E2}"/>
          </ac:spMkLst>
        </pc:spChg>
        <pc:picChg chg="add mod">
          <ac:chgData name="Li, Katrina" userId="d5a66c08-f3e0-4c8b-8867-c35572346045" providerId="ADAL" clId="{065E949B-2E3F-471B-A006-402445D5F868}" dt="2022-12-14T02:57:51.988" v="728" actId="1076"/>
          <ac:picMkLst>
            <pc:docMk/>
            <pc:sldMk cId="3087090011" sldId="380"/>
            <ac:picMk id="2" creationId="{B2DCCFA0-1BF1-769B-2003-6DC218FEEFC0}"/>
          </ac:picMkLst>
        </pc:picChg>
        <pc:picChg chg="del">
          <ac:chgData name="Li, Katrina" userId="d5a66c08-f3e0-4c8b-8867-c35572346045" providerId="ADAL" clId="{065E949B-2E3F-471B-A006-402445D5F868}" dt="2022-12-14T01:41:44.272" v="552" actId="478"/>
          <ac:picMkLst>
            <pc:docMk/>
            <pc:sldMk cId="3087090011" sldId="380"/>
            <ac:picMk id="5" creationId="{7EB6B68C-4A96-ABF9-4EE2-AFF705D7BA7A}"/>
          </ac:picMkLst>
        </pc:picChg>
        <pc:picChg chg="add mod">
          <ac:chgData name="Li, Katrina" userId="d5a66c08-f3e0-4c8b-8867-c35572346045" providerId="ADAL" clId="{065E949B-2E3F-471B-A006-402445D5F868}" dt="2022-12-14T03:01:13.793" v="847" actId="1035"/>
          <ac:picMkLst>
            <pc:docMk/>
            <pc:sldMk cId="3087090011" sldId="380"/>
            <ac:picMk id="7" creationId="{6AAFC982-6890-A700-500B-141E3887BA7F}"/>
          </ac:picMkLst>
        </pc:picChg>
        <pc:picChg chg="add mod">
          <ac:chgData name="Li, Katrina" userId="d5a66c08-f3e0-4c8b-8867-c35572346045" providerId="ADAL" clId="{065E949B-2E3F-471B-A006-402445D5F868}" dt="2022-12-14T03:01:16.228" v="853" actId="1035"/>
          <ac:picMkLst>
            <pc:docMk/>
            <pc:sldMk cId="3087090011" sldId="380"/>
            <ac:picMk id="10" creationId="{5952E824-7251-EA95-1810-46E9599A1BA4}"/>
          </ac:picMkLst>
        </pc:picChg>
        <pc:picChg chg="add mod">
          <ac:chgData name="Li, Katrina" userId="d5a66c08-f3e0-4c8b-8867-c35572346045" providerId="ADAL" clId="{065E949B-2E3F-471B-A006-402445D5F868}" dt="2022-12-14T03:01:22.752" v="865" actId="1036"/>
          <ac:picMkLst>
            <pc:docMk/>
            <pc:sldMk cId="3087090011" sldId="380"/>
            <ac:picMk id="12" creationId="{F71F623B-68EE-5D91-9DC3-9E365E5295E4}"/>
          </ac:picMkLst>
        </pc:picChg>
        <pc:picChg chg="add mod">
          <ac:chgData name="Li, Katrina" userId="d5a66c08-f3e0-4c8b-8867-c35572346045" providerId="ADAL" clId="{065E949B-2E3F-471B-A006-402445D5F868}" dt="2022-12-14T03:01:37.653" v="869" actId="1076"/>
          <ac:picMkLst>
            <pc:docMk/>
            <pc:sldMk cId="3087090011" sldId="380"/>
            <ac:picMk id="14" creationId="{19DDA832-E306-3587-9766-CA47236BBEDB}"/>
          </ac:picMkLst>
        </pc:picChg>
      </pc:sldChg>
      <pc:sldChg chg="addSp delSp modSp add mod">
        <pc:chgData name="Li, Katrina" userId="d5a66c08-f3e0-4c8b-8867-c35572346045" providerId="ADAL" clId="{065E949B-2E3F-471B-A006-402445D5F868}" dt="2022-12-14T03:33:14.172" v="1480" actId="20577"/>
        <pc:sldMkLst>
          <pc:docMk/>
          <pc:sldMk cId="2230597773" sldId="381"/>
        </pc:sldMkLst>
        <pc:spChg chg="mod">
          <ac:chgData name="Li, Katrina" userId="d5a66c08-f3e0-4c8b-8867-c35572346045" providerId="ADAL" clId="{065E949B-2E3F-471B-A006-402445D5F868}" dt="2022-12-14T03:26:03.525" v="1397" actId="1076"/>
          <ac:spMkLst>
            <pc:docMk/>
            <pc:sldMk cId="2230597773" sldId="381"/>
            <ac:spMk id="3" creationId="{305F9436-CCF7-5AD1-7B91-8AFA3EBE05FE}"/>
          </ac:spMkLst>
        </pc:spChg>
        <pc:spChg chg="mod">
          <ac:chgData name="Li, Katrina" userId="d5a66c08-f3e0-4c8b-8867-c35572346045" providerId="ADAL" clId="{065E949B-2E3F-471B-A006-402445D5F868}" dt="2022-12-14T03:25:58.810" v="1396" actId="20577"/>
          <ac:spMkLst>
            <pc:docMk/>
            <pc:sldMk cId="2230597773" sldId="381"/>
            <ac:spMk id="8" creationId="{3887E388-A046-8069-1254-8C48B3A5A8F1}"/>
          </ac:spMkLst>
        </pc:spChg>
        <pc:spChg chg="mod">
          <ac:chgData name="Li, Katrina" userId="d5a66c08-f3e0-4c8b-8867-c35572346045" providerId="ADAL" clId="{065E949B-2E3F-471B-A006-402445D5F868}" dt="2022-12-14T03:33:14.172" v="1480" actId="20577"/>
          <ac:spMkLst>
            <pc:docMk/>
            <pc:sldMk cId="2230597773" sldId="381"/>
            <ac:spMk id="15" creationId="{193726CA-95D4-66C1-E867-06FE7B36E9E2}"/>
          </ac:spMkLst>
        </pc:spChg>
        <pc:picChg chg="del">
          <ac:chgData name="Li, Katrina" userId="d5a66c08-f3e0-4c8b-8867-c35572346045" providerId="ADAL" clId="{065E949B-2E3F-471B-A006-402445D5F868}" dt="2022-12-14T03:18:51.883" v="1353" actId="478"/>
          <ac:picMkLst>
            <pc:docMk/>
            <pc:sldMk cId="2230597773" sldId="381"/>
            <ac:picMk id="2" creationId="{B2DCCFA0-1BF1-769B-2003-6DC218FEEFC0}"/>
          </ac:picMkLst>
        </pc:picChg>
        <pc:picChg chg="add mod">
          <ac:chgData name="Li, Katrina" userId="d5a66c08-f3e0-4c8b-8867-c35572346045" providerId="ADAL" clId="{065E949B-2E3F-471B-A006-402445D5F868}" dt="2022-12-14T03:25:45.991" v="1368" actId="1076"/>
          <ac:picMkLst>
            <pc:docMk/>
            <pc:sldMk cId="2230597773" sldId="381"/>
            <ac:picMk id="6" creationId="{EFAB54E8-1333-CC67-0587-B7DD83553F51}"/>
          </ac:picMkLst>
        </pc:picChg>
        <pc:picChg chg="del">
          <ac:chgData name="Li, Katrina" userId="d5a66c08-f3e0-4c8b-8867-c35572346045" providerId="ADAL" clId="{065E949B-2E3F-471B-A006-402445D5F868}" dt="2022-12-14T03:18:50.804" v="1352" actId="478"/>
          <ac:picMkLst>
            <pc:docMk/>
            <pc:sldMk cId="2230597773" sldId="381"/>
            <ac:picMk id="7" creationId="{6AAFC982-6890-A700-500B-141E3887BA7F}"/>
          </ac:picMkLst>
        </pc:picChg>
        <pc:picChg chg="del">
          <ac:chgData name="Li, Katrina" userId="d5a66c08-f3e0-4c8b-8867-c35572346045" providerId="ADAL" clId="{065E949B-2E3F-471B-A006-402445D5F868}" dt="2022-12-14T03:18:52.943" v="1354" actId="478"/>
          <ac:picMkLst>
            <pc:docMk/>
            <pc:sldMk cId="2230597773" sldId="381"/>
            <ac:picMk id="10" creationId="{5952E824-7251-EA95-1810-46E9599A1BA4}"/>
          </ac:picMkLst>
        </pc:picChg>
        <pc:picChg chg="add mod">
          <ac:chgData name="Li, Katrina" userId="d5a66c08-f3e0-4c8b-8867-c35572346045" providerId="ADAL" clId="{065E949B-2E3F-471B-A006-402445D5F868}" dt="2022-12-14T03:26:12.637" v="1405" actId="1035"/>
          <ac:picMkLst>
            <pc:docMk/>
            <pc:sldMk cId="2230597773" sldId="381"/>
            <ac:picMk id="11" creationId="{610FFB96-C594-DA5D-F2DE-C8E07F84CFB9}"/>
          </ac:picMkLst>
        </pc:picChg>
        <pc:picChg chg="del">
          <ac:chgData name="Li, Katrina" userId="d5a66c08-f3e0-4c8b-8867-c35572346045" providerId="ADAL" clId="{065E949B-2E3F-471B-A006-402445D5F868}" dt="2022-12-14T03:18:54.450" v="1355" actId="478"/>
          <ac:picMkLst>
            <pc:docMk/>
            <pc:sldMk cId="2230597773" sldId="381"/>
            <ac:picMk id="12" creationId="{F71F623B-68EE-5D91-9DC3-9E365E5295E4}"/>
          </ac:picMkLst>
        </pc:picChg>
        <pc:picChg chg="del">
          <ac:chgData name="Li, Katrina" userId="d5a66c08-f3e0-4c8b-8867-c35572346045" providerId="ADAL" clId="{065E949B-2E3F-471B-A006-402445D5F868}" dt="2022-12-14T03:18:55.872" v="1356" actId="478"/>
          <ac:picMkLst>
            <pc:docMk/>
            <pc:sldMk cId="2230597773" sldId="381"/>
            <ac:picMk id="14" creationId="{19DDA832-E306-3587-9766-CA47236BBEDB}"/>
          </ac:picMkLst>
        </pc:picChg>
      </pc:sldChg>
      <pc:sldChg chg="addSp delSp modSp add mod">
        <pc:chgData name="Li, Katrina" userId="d5a66c08-f3e0-4c8b-8867-c35572346045" providerId="ADAL" clId="{065E949B-2E3F-471B-A006-402445D5F868}" dt="2022-12-14T04:05:54.186" v="1700" actId="20577"/>
        <pc:sldMkLst>
          <pc:docMk/>
          <pc:sldMk cId="2265196282" sldId="382"/>
        </pc:sldMkLst>
        <pc:spChg chg="mod">
          <ac:chgData name="Li, Katrina" userId="d5a66c08-f3e0-4c8b-8867-c35572346045" providerId="ADAL" clId="{065E949B-2E3F-471B-A006-402445D5F868}" dt="2022-12-14T03:33:49.437" v="1512" actId="20577"/>
          <ac:spMkLst>
            <pc:docMk/>
            <pc:sldMk cId="2265196282" sldId="382"/>
            <ac:spMk id="3" creationId="{305F9436-CCF7-5AD1-7B91-8AFA3EBE05FE}"/>
          </ac:spMkLst>
        </pc:spChg>
        <pc:spChg chg="mod">
          <ac:chgData name="Li, Katrina" userId="d5a66c08-f3e0-4c8b-8867-c35572346045" providerId="ADAL" clId="{065E949B-2E3F-471B-A006-402445D5F868}" dt="2022-12-14T03:56:15.016" v="1562" actId="1076"/>
          <ac:spMkLst>
            <pc:docMk/>
            <pc:sldMk cId="2265196282" sldId="382"/>
            <ac:spMk id="8" creationId="{3887E388-A046-8069-1254-8C48B3A5A8F1}"/>
          </ac:spMkLst>
        </pc:spChg>
        <pc:spChg chg="mod">
          <ac:chgData name="Li, Katrina" userId="d5a66c08-f3e0-4c8b-8867-c35572346045" providerId="ADAL" clId="{065E949B-2E3F-471B-A006-402445D5F868}" dt="2022-12-14T04:05:54.186" v="1700" actId="20577"/>
          <ac:spMkLst>
            <pc:docMk/>
            <pc:sldMk cId="2265196282" sldId="382"/>
            <ac:spMk id="15" creationId="{193726CA-95D4-66C1-E867-06FE7B36E9E2}"/>
          </ac:spMkLst>
        </pc:spChg>
        <pc:picChg chg="add mod">
          <ac:chgData name="Li, Katrina" userId="d5a66c08-f3e0-4c8b-8867-c35572346045" providerId="ADAL" clId="{065E949B-2E3F-471B-A006-402445D5F868}" dt="2022-12-14T03:34:21.084" v="1514" actId="1076"/>
          <ac:picMkLst>
            <pc:docMk/>
            <pc:sldMk cId="2265196282" sldId="382"/>
            <ac:picMk id="5" creationId="{5F75D646-E17E-7703-CFEF-DD919B3B9FBF}"/>
          </ac:picMkLst>
        </pc:picChg>
        <pc:picChg chg="del">
          <ac:chgData name="Li, Katrina" userId="d5a66c08-f3e0-4c8b-8867-c35572346045" providerId="ADAL" clId="{065E949B-2E3F-471B-A006-402445D5F868}" dt="2022-12-14T03:33:29.020" v="1485" actId="478"/>
          <ac:picMkLst>
            <pc:docMk/>
            <pc:sldMk cId="2265196282" sldId="382"/>
            <ac:picMk id="6" creationId="{EFAB54E8-1333-CC67-0587-B7DD83553F51}"/>
          </ac:picMkLst>
        </pc:picChg>
        <pc:picChg chg="add mod">
          <ac:chgData name="Li, Katrina" userId="d5a66c08-f3e0-4c8b-8867-c35572346045" providerId="ADAL" clId="{065E949B-2E3F-471B-A006-402445D5F868}" dt="2022-12-14T03:56:11.562" v="1561" actId="1076"/>
          <ac:picMkLst>
            <pc:docMk/>
            <pc:sldMk cId="2265196282" sldId="382"/>
            <ac:picMk id="9" creationId="{AE767DDE-8020-371B-8420-C97D1545AE23}"/>
          </ac:picMkLst>
        </pc:picChg>
        <pc:picChg chg="del">
          <ac:chgData name="Li, Katrina" userId="d5a66c08-f3e0-4c8b-8867-c35572346045" providerId="ADAL" clId="{065E949B-2E3F-471B-A006-402445D5F868}" dt="2022-12-14T03:33:30.275" v="1486" actId="478"/>
          <ac:picMkLst>
            <pc:docMk/>
            <pc:sldMk cId="2265196282" sldId="382"/>
            <ac:picMk id="11" creationId="{610FFB96-C594-DA5D-F2DE-C8E07F84CFB9}"/>
          </ac:picMkLst>
        </pc:picChg>
      </pc:sldChg>
      <pc:sldChg chg="add del">
        <pc:chgData name="Li, Katrina" userId="d5a66c08-f3e0-4c8b-8867-c35572346045" providerId="ADAL" clId="{065E949B-2E3F-471B-A006-402445D5F868}" dt="2022-12-14T03:10:21.486" v="1027" actId="47"/>
        <pc:sldMkLst>
          <pc:docMk/>
          <pc:sldMk cId="3051459125" sldId="382"/>
        </pc:sldMkLst>
      </pc:sldChg>
      <pc:sldChg chg="modSp mod">
        <pc:chgData name="Li, Katrina" userId="d5a66c08-f3e0-4c8b-8867-c35572346045" providerId="ADAL" clId="{065E949B-2E3F-471B-A006-402445D5F868}" dt="2022-12-19T03:17:49.579" v="3695" actId="20577"/>
        <pc:sldMkLst>
          <pc:docMk/>
          <pc:sldMk cId="1828078409" sldId="2141410962"/>
        </pc:sldMkLst>
        <pc:spChg chg="mod">
          <ac:chgData name="Li, Katrina" userId="d5a66c08-f3e0-4c8b-8867-c35572346045" providerId="ADAL" clId="{065E949B-2E3F-471B-A006-402445D5F868}" dt="2022-12-19T03:17:49.579" v="3695" actId="20577"/>
          <ac:spMkLst>
            <pc:docMk/>
            <pc:sldMk cId="1828078409" sldId="2141410962"/>
            <ac:spMk id="28" creationId="{E93753FD-7F47-57FB-4282-2DD3A6732B3E}"/>
          </ac:spMkLst>
        </pc:spChg>
      </pc:sldChg>
      <pc:sldChg chg="modSp mod">
        <pc:chgData name="Li, Katrina" userId="d5a66c08-f3e0-4c8b-8867-c35572346045" providerId="ADAL" clId="{065E949B-2E3F-471B-A006-402445D5F868}" dt="2022-12-18T23:21:59.147" v="2026" actId="1037"/>
        <pc:sldMkLst>
          <pc:docMk/>
          <pc:sldMk cId="1547260538" sldId="2141410971"/>
        </pc:sldMkLst>
        <pc:spChg chg="mod">
          <ac:chgData name="Li, Katrina" userId="d5a66c08-f3e0-4c8b-8867-c35572346045" providerId="ADAL" clId="{065E949B-2E3F-471B-A006-402445D5F868}" dt="2022-12-18T23:21:59.147" v="2026" actId="1037"/>
          <ac:spMkLst>
            <pc:docMk/>
            <pc:sldMk cId="1547260538" sldId="2141410971"/>
            <ac:spMk id="67" creationId="{8B774B38-9FF1-2A50-1F14-5F527DD98CFB}"/>
          </ac:spMkLst>
        </pc:spChg>
        <pc:spChg chg="mod">
          <ac:chgData name="Li, Katrina" userId="d5a66c08-f3e0-4c8b-8867-c35572346045" providerId="ADAL" clId="{065E949B-2E3F-471B-A006-402445D5F868}" dt="2022-12-18T23:20:35.536" v="1915" actId="1038"/>
          <ac:spMkLst>
            <pc:docMk/>
            <pc:sldMk cId="1547260538" sldId="2141410971"/>
            <ac:spMk id="68" creationId="{D1715F63-6604-972B-FFEB-7F0C4D78C3A6}"/>
          </ac:spMkLst>
        </pc:spChg>
        <pc:grpChg chg="mod">
          <ac:chgData name="Li, Katrina" userId="d5a66c08-f3e0-4c8b-8867-c35572346045" providerId="ADAL" clId="{065E949B-2E3F-471B-A006-402445D5F868}" dt="2022-12-18T23:20:50.707" v="2011" actId="1037"/>
          <ac:grpSpMkLst>
            <pc:docMk/>
            <pc:sldMk cId="1547260538" sldId="2141410971"/>
            <ac:grpSpMk id="61" creationId="{BE20BD87-FD0A-55B4-C3B2-18A85B0D797B}"/>
          </ac:grpSpMkLst>
        </pc:grpChg>
        <pc:grpChg chg="mod">
          <ac:chgData name="Li, Katrina" userId="d5a66c08-f3e0-4c8b-8867-c35572346045" providerId="ADAL" clId="{065E949B-2E3F-471B-A006-402445D5F868}" dt="2022-12-18T23:20:50.707" v="2011" actId="1037"/>
          <ac:grpSpMkLst>
            <pc:docMk/>
            <pc:sldMk cId="1547260538" sldId="2141410971"/>
            <ac:grpSpMk id="64" creationId="{FDEFB40D-D075-787A-3B55-CF2CC665EE5C}"/>
          </ac:grpSpMkLst>
        </pc:grpChg>
        <pc:grpChg chg="mod">
          <ac:chgData name="Li, Katrina" userId="d5a66c08-f3e0-4c8b-8867-c35572346045" providerId="ADAL" clId="{065E949B-2E3F-471B-A006-402445D5F868}" dt="2022-12-18T23:20:35.536" v="1915" actId="1038"/>
          <ac:grpSpMkLst>
            <pc:docMk/>
            <pc:sldMk cId="1547260538" sldId="2141410971"/>
            <ac:grpSpMk id="69" creationId="{9E908856-1BFA-5F5B-1F19-FFBEFE82AE9A}"/>
          </ac:grpSpMkLst>
        </pc:grpChg>
        <pc:picChg chg="mod">
          <ac:chgData name="Li, Katrina" userId="d5a66c08-f3e0-4c8b-8867-c35572346045" providerId="ADAL" clId="{065E949B-2E3F-471B-A006-402445D5F868}" dt="2022-12-18T23:20:50.707" v="2011" actId="1037"/>
          <ac:picMkLst>
            <pc:docMk/>
            <pc:sldMk cId="1547260538" sldId="2141410971"/>
            <ac:picMk id="52" creationId="{074EA6AF-FCC8-A893-0CFA-7731D3DC984F}"/>
          </ac:picMkLst>
        </pc:picChg>
        <pc:picChg chg="mod">
          <ac:chgData name="Li, Katrina" userId="d5a66c08-f3e0-4c8b-8867-c35572346045" providerId="ADAL" clId="{065E949B-2E3F-471B-A006-402445D5F868}" dt="2022-12-18T23:20:50.707" v="2011" actId="1037"/>
          <ac:picMkLst>
            <pc:docMk/>
            <pc:sldMk cId="1547260538" sldId="2141410971"/>
            <ac:picMk id="53" creationId="{0B393B99-CF69-1442-227A-9DD9BAA41B08}"/>
          </ac:picMkLst>
        </pc:picChg>
      </pc:sldChg>
      <pc:sldChg chg="modSp mod">
        <pc:chgData name="Li, Katrina" userId="d5a66c08-f3e0-4c8b-8867-c35572346045" providerId="ADAL" clId="{065E949B-2E3F-471B-A006-402445D5F868}" dt="2022-12-18T23:27:28.769" v="2413" actId="1037"/>
        <pc:sldMkLst>
          <pc:docMk/>
          <pc:sldMk cId="3905371664" sldId="2141410972"/>
        </pc:sldMkLst>
        <pc:spChg chg="mod">
          <ac:chgData name="Li, Katrina" userId="d5a66c08-f3e0-4c8b-8867-c35572346045" providerId="ADAL" clId="{065E949B-2E3F-471B-A006-402445D5F868}" dt="2022-12-18T23:27:28.769" v="2413" actId="1037"/>
          <ac:spMkLst>
            <pc:docMk/>
            <pc:sldMk cId="3905371664" sldId="2141410972"/>
            <ac:spMk id="67" creationId="{8B774B38-9FF1-2A50-1F14-5F527DD98CFB}"/>
          </ac:spMkLst>
        </pc:spChg>
        <pc:spChg chg="mod">
          <ac:chgData name="Li, Katrina" userId="d5a66c08-f3e0-4c8b-8867-c35572346045" providerId="ADAL" clId="{065E949B-2E3F-471B-A006-402445D5F868}" dt="2022-12-18T23:27:20.525" v="2335" actId="1037"/>
          <ac:spMkLst>
            <pc:docMk/>
            <pc:sldMk cId="3905371664" sldId="2141410972"/>
            <ac:spMk id="68" creationId="{D1715F63-6604-972B-FFEB-7F0C4D78C3A6}"/>
          </ac:spMkLst>
        </pc:spChg>
        <pc:grpChg chg="mod">
          <ac:chgData name="Li, Katrina" userId="d5a66c08-f3e0-4c8b-8867-c35572346045" providerId="ADAL" clId="{065E949B-2E3F-471B-A006-402445D5F868}" dt="2022-12-18T23:27:12.518" v="2247" actId="1037"/>
          <ac:grpSpMkLst>
            <pc:docMk/>
            <pc:sldMk cId="3905371664" sldId="2141410972"/>
            <ac:grpSpMk id="61" creationId="{BE20BD87-FD0A-55B4-C3B2-18A85B0D797B}"/>
          </ac:grpSpMkLst>
        </pc:grpChg>
        <pc:grpChg chg="mod">
          <ac:chgData name="Li, Katrina" userId="d5a66c08-f3e0-4c8b-8867-c35572346045" providerId="ADAL" clId="{065E949B-2E3F-471B-A006-402445D5F868}" dt="2022-12-18T23:27:12.518" v="2247" actId="1037"/>
          <ac:grpSpMkLst>
            <pc:docMk/>
            <pc:sldMk cId="3905371664" sldId="2141410972"/>
            <ac:grpSpMk id="64" creationId="{FDEFB40D-D075-787A-3B55-CF2CC665EE5C}"/>
          </ac:grpSpMkLst>
        </pc:grpChg>
        <pc:grpChg chg="mod">
          <ac:chgData name="Li, Katrina" userId="d5a66c08-f3e0-4c8b-8867-c35572346045" providerId="ADAL" clId="{065E949B-2E3F-471B-A006-402445D5F868}" dt="2022-12-18T23:27:20.525" v="2335" actId="1037"/>
          <ac:grpSpMkLst>
            <pc:docMk/>
            <pc:sldMk cId="3905371664" sldId="2141410972"/>
            <ac:grpSpMk id="69" creationId="{9E908856-1BFA-5F5B-1F19-FFBEFE82AE9A}"/>
          </ac:grpSpMkLst>
        </pc:grpChg>
        <pc:picChg chg="mod">
          <ac:chgData name="Li, Katrina" userId="d5a66c08-f3e0-4c8b-8867-c35572346045" providerId="ADAL" clId="{065E949B-2E3F-471B-A006-402445D5F868}" dt="2022-12-18T23:27:12.518" v="2247" actId="1037"/>
          <ac:picMkLst>
            <pc:docMk/>
            <pc:sldMk cId="3905371664" sldId="2141410972"/>
            <ac:picMk id="8" creationId="{39E5F488-16CF-BA8F-AD54-52556EA53BD1}"/>
          </ac:picMkLst>
        </pc:picChg>
        <pc:picChg chg="mod">
          <ac:chgData name="Li, Katrina" userId="d5a66c08-f3e0-4c8b-8867-c35572346045" providerId="ADAL" clId="{065E949B-2E3F-471B-A006-402445D5F868}" dt="2022-12-18T23:27:12.518" v="2247" actId="1037"/>
          <ac:picMkLst>
            <pc:docMk/>
            <pc:sldMk cId="3905371664" sldId="2141410972"/>
            <ac:picMk id="9" creationId="{BEE40E67-E113-BAC9-7953-98B47B267C41}"/>
          </ac:picMkLst>
        </pc:picChg>
      </pc:sldChg>
      <pc:sldChg chg="addSp delSp modSp add mod">
        <pc:chgData name="Li, Katrina" userId="d5a66c08-f3e0-4c8b-8867-c35572346045" providerId="ADAL" clId="{065E949B-2E3F-471B-A006-402445D5F868}" dt="2022-12-19T03:38:57.194" v="4041" actId="20577"/>
        <pc:sldMkLst>
          <pc:docMk/>
          <pc:sldMk cId="2445123285" sldId="2141410981"/>
        </pc:sldMkLst>
        <pc:spChg chg="mod">
          <ac:chgData name="Li, Katrina" userId="d5a66c08-f3e0-4c8b-8867-c35572346045" providerId="ADAL" clId="{065E949B-2E3F-471B-A006-402445D5F868}" dt="2022-12-19T00:11:02.924" v="3194" actId="20577"/>
          <ac:spMkLst>
            <pc:docMk/>
            <pc:sldMk cId="2445123285" sldId="2141410981"/>
            <ac:spMk id="2" creationId="{53F2A13D-985C-D9D9-D787-2A003E965A1C}"/>
          </ac:spMkLst>
        </pc:spChg>
        <pc:spChg chg="mod">
          <ac:chgData name="Li, Katrina" userId="d5a66c08-f3e0-4c8b-8867-c35572346045" providerId="ADAL" clId="{065E949B-2E3F-471B-A006-402445D5F868}" dt="2022-12-18T23:33:44.057" v="2445" actId="20577"/>
          <ac:spMkLst>
            <pc:docMk/>
            <pc:sldMk cId="2445123285" sldId="2141410981"/>
            <ac:spMk id="3" creationId="{305F9436-CCF7-5AD1-7B91-8AFA3EBE05FE}"/>
          </ac:spMkLst>
        </pc:spChg>
        <pc:spChg chg="add mod">
          <ac:chgData name="Li, Katrina" userId="d5a66c08-f3e0-4c8b-8867-c35572346045" providerId="ADAL" clId="{065E949B-2E3F-471B-A006-402445D5F868}" dt="2022-12-19T03:38:57.194" v="4041" actId="20577"/>
          <ac:spMkLst>
            <pc:docMk/>
            <pc:sldMk cId="2445123285" sldId="2141410981"/>
            <ac:spMk id="16" creationId="{480022F3-ABB5-4FBC-8D57-CA68D669CA88}"/>
          </ac:spMkLst>
        </pc:spChg>
        <pc:spChg chg="mod">
          <ac:chgData name="Li, Katrina" userId="d5a66c08-f3e0-4c8b-8867-c35572346045" providerId="ADAL" clId="{065E949B-2E3F-471B-A006-402445D5F868}" dt="2022-12-18T23:51:38.005" v="2544" actId="20577"/>
          <ac:spMkLst>
            <pc:docMk/>
            <pc:sldMk cId="2445123285" sldId="2141410981"/>
            <ac:spMk id="62" creationId="{B1CAB074-EC48-EB0F-F55C-F13F33670B79}"/>
          </ac:spMkLst>
        </pc:spChg>
        <pc:spChg chg="mod">
          <ac:chgData name="Li, Katrina" userId="d5a66c08-f3e0-4c8b-8867-c35572346045" providerId="ADAL" clId="{065E949B-2E3F-471B-A006-402445D5F868}" dt="2022-12-19T03:37:44.146" v="4017" actId="20577"/>
          <ac:spMkLst>
            <pc:docMk/>
            <pc:sldMk cId="2445123285" sldId="2141410981"/>
            <ac:spMk id="65" creationId="{1513C5E4-06C9-FD2D-127E-462BDB678A99}"/>
          </ac:spMkLst>
        </pc:spChg>
        <pc:spChg chg="mod">
          <ac:chgData name="Li, Katrina" userId="d5a66c08-f3e0-4c8b-8867-c35572346045" providerId="ADAL" clId="{065E949B-2E3F-471B-A006-402445D5F868}" dt="2022-12-19T00:04:13.043" v="3037" actId="1037"/>
          <ac:spMkLst>
            <pc:docMk/>
            <pc:sldMk cId="2445123285" sldId="2141410981"/>
            <ac:spMk id="67" creationId="{8B774B38-9FF1-2A50-1F14-5F527DD98CFB}"/>
          </ac:spMkLst>
        </pc:spChg>
        <pc:spChg chg="mod">
          <ac:chgData name="Li, Katrina" userId="d5a66c08-f3e0-4c8b-8867-c35572346045" providerId="ADAL" clId="{065E949B-2E3F-471B-A006-402445D5F868}" dt="2022-12-19T03:37:06.621" v="3963"/>
          <ac:spMkLst>
            <pc:docMk/>
            <pc:sldMk cId="2445123285" sldId="2141410981"/>
            <ac:spMk id="68" creationId="{D1715F63-6604-972B-FFEB-7F0C4D78C3A6}"/>
          </ac:spMkLst>
        </pc:spChg>
        <pc:grpChg chg="mod">
          <ac:chgData name="Li, Katrina" userId="d5a66c08-f3e0-4c8b-8867-c35572346045" providerId="ADAL" clId="{065E949B-2E3F-471B-A006-402445D5F868}" dt="2022-12-19T00:04:18.765" v="3041" actId="1037"/>
          <ac:grpSpMkLst>
            <pc:docMk/>
            <pc:sldMk cId="2445123285" sldId="2141410981"/>
            <ac:grpSpMk id="61" creationId="{BE20BD87-FD0A-55B4-C3B2-18A85B0D797B}"/>
          </ac:grpSpMkLst>
        </pc:grpChg>
        <pc:grpChg chg="mod">
          <ac:chgData name="Li, Katrina" userId="d5a66c08-f3e0-4c8b-8867-c35572346045" providerId="ADAL" clId="{065E949B-2E3F-471B-A006-402445D5F868}" dt="2022-12-19T00:04:18.765" v="3041" actId="1037"/>
          <ac:grpSpMkLst>
            <pc:docMk/>
            <pc:sldMk cId="2445123285" sldId="2141410981"/>
            <ac:grpSpMk id="64" creationId="{FDEFB40D-D075-787A-3B55-CF2CC665EE5C}"/>
          </ac:grpSpMkLst>
        </pc:grpChg>
        <pc:grpChg chg="mod">
          <ac:chgData name="Li, Katrina" userId="d5a66c08-f3e0-4c8b-8867-c35572346045" providerId="ADAL" clId="{065E949B-2E3F-471B-A006-402445D5F868}" dt="2022-12-19T00:04:13.043" v="3037" actId="1037"/>
          <ac:grpSpMkLst>
            <pc:docMk/>
            <pc:sldMk cId="2445123285" sldId="2141410981"/>
            <ac:grpSpMk id="69" creationId="{9E908856-1BFA-5F5B-1F19-FFBEFE82AE9A}"/>
          </ac:grpSpMkLst>
        </pc:grpChg>
        <pc:picChg chg="add del mod">
          <ac:chgData name="Li, Katrina" userId="d5a66c08-f3e0-4c8b-8867-c35572346045" providerId="ADAL" clId="{065E949B-2E3F-471B-A006-402445D5F868}" dt="2022-12-19T00:06:29.777" v="3118" actId="478"/>
          <ac:picMkLst>
            <pc:docMk/>
            <pc:sldMk cId="2445123285" sldId="2141410981"/>
            <ac:picMk id="7" creationId="{8B57060D-B542-EDF6-150E-2A4C304A6FAF}"/>
          </ac:picMkLst>
        </pc:picChg>
        <pc:picChg chg="del">
          <ac:chgData name="Li, Katrina" userId="d5a66c08-f3e0-4c8b-8867-c35572346045" providerId="ADAL" clId="{065E949B-2E3F-471B-A006-402445D5F868}" dt="2022-12-18T23:39:48.800" v="2446" actId="478"/>
          <ac:picMkLst>
            <pc:docMk/>
            <pc:sldMk cId="2445123285" sldId="2141410981"/>
            <ac:picMk id="8" creationId="{39E5F488-16CF-BA8F-AD54-52556EA53BD1}"/>
          </ac:picMkLst>
        </pc:picChg>
        <pc:picChg chg="del">
          <ac:chgData name="Li, Katrina" userId="d5a66c08-f3e0-4c8b-8867-c35572346045" providerId="ADAL" clId="{065E949B-2E3F-471B-A006-402445D5F868}" dt="2022-12-18T23:57:36.146" v="2813" actId="478"/>
          <ac:picMkLst>
            <pc:docMk/>
            <pc:sldMk cId="2445123285" sldId="2141410981"/>
            <ac:picMk id="9" creationId="{BEE40E67-E113-BAC9-7953-98B47B267C41}"/>
          </ac:picMkLst>
        </pc:picChg>
        <pc:picChg chg="add del mod">
          <ac:chgData name="Li, Katrina" userId="d5a66c08-f3e0-4c8b-8867-c35572346045" providerId="ADAL" clId="{065E949B-2E3F-471B-A006-402445D5F868}" dt="2022-12-19T00:07:20.207" v="3131" actId="478"/>
          <ac:picMkLst>
            <pc:docMk/>
            <pc:sldMk cId="2445123285" sldId="2141410981"/>
            <ac:picMk id="11" creationId="{2DB67F83-7157-67C1-367C-347D116A1AA6}"/>
          </ac:picMkLst>
        </pc:picChg>
        <pc:picChg chg="add del mod">
          <ac:chgData name="Li, Katrina" userId="d5a66c08-f3e0-4c8b-8867-c35572346045" providerId="ADAL" clId="{065E949B-2E3F-471B-A006-402445D5F868}" dt="2022-12-19T00:08:26.960" v="3137" actId="478"/>
          <ac:picMkLst>
            <pc:docMk/>
            <pc:sldMk cId="2445123285" sldId="2141410981"/>
            <ac:picMk id="13" creationId="{C71EC222-12B5-FE07-BBE6-9745529ACF78}"/>
          </ac:picMkLst>
        </pc:picChg>
        <pc:picChg chg="add del mod">
          <ac:chgData name="Li, Katrina" userId="d5a66c08-f3e0-4c8b-8867-c35572346045" providerId="ADAL" clId="{065E949B-2E3F-471B-A006-402445D5F868}" dt="2022-12-19T00:09:23.474" v="3143" actId="478"/>
          <ac:picMkLst>
            <pc:docMk/>
            <pc:sldMk cId="2445123285" sldId="2141410981"/>
            <ac:picMk id="15" creationId="{D8295DEC-4EB0-C546-E91A-A4C044F828F0}"/>
          </ac:picMkLst>
        </pc:picChg>
        <pc:picChg chg="add mod">
          <ac:chgData name="Li, Katrina" userId="d5a66c08-f3e0-4c8b-8867-c35572346045" providerId="ADAL" clId="{065E949B-2E3F-471B-A006-402445D5F868}" dt="2022-12-19T00:08:02.603" v="3136" actId="1076"/>
          <ac:picMkLst>
            <pc:docMk/>
            <pc:sldMk cId="2445123285" sldId="2141410981"/>
            <ac:picMk id="18" creationId="{8F0F91C3-DE70-4873-71E1-D7DA04C45729}"/>
          </ac:picMkLst>
        </pc:picChg>
        <pc:picChg chg="add mod">
          <ac:chgData name="Li, Katrina" userId="d5a66c08-f3e0-4c8b-8867-c35572346045" providerId="ADAL" clId="{065E949B-2E3F-471B-A006-402445D5F868}" dt="2022-12-19T00:07:52.753" v="3134" actId="14100"/>
          <ac:picMkLst>
            <pc:docMk/>
            <pc:sldMk cId="2445123285" sldId="2141410981"/>
            <ac:picMk id="20" creationId="{2392B795-8279-6EC9-7F98-5AC688319A95}"/>
          </ac:picMkLst>
        </pc:picChg>
        <pc:picChg chg="add mod">
          <ac:chgData name="Li, Katrina" userId="d5a66c08-f3e0-4c8b-8867-c35572346045" providerId="ADAL" clId="{065E949B-2E3F-471B-A006-402445D5F868}" dt="2022-12-19T03:38:41.837" v="4026" actId="1037"/>
          <ac:picMkLst>
            <pc:docMk/>
            <pc:sldMk cId="2445123285" sldId="2141410981"/>
            <ac:picMk id="22" creationId="{E7CAE04B-10BB-8299-2087-0F5009D0D44F}"/>
          </ac:picMkLst>
        </pc:picChg>
        <pc:picChg chg="add mod">
          <ac:chgData name="Li, Katrina" userId="d5a66c08-f3e0-4c8b-8867-c35572346045" providerId="ADAL" clId="{065E949B-2E3F-471B-A006-402445D5F868}" dt="2022-12-19T03:38:41.837" v="4026" actId="1037"/>
          <ac:picMkLst>
            <pc:docMk/>
            <pc:sldMk cId="2445123285" sldId="2141410981"/>
            <ac:picMk id="24" creationId="{FD7DF0DF-AD97-ED1C-8BEE-ED06F1AD7F0E}"/>
          </ac:picMkLst>
        </pc:picChg>
        <pc:picChg chg="add mod">
          <ac:chgData name="Li, Katrina" userId="d5a66c08-f3e0-4c8b-8867-c35572346045" providerId="ADAL" clId="{065E949B-2E3F-471B-A006-402445D5F868}" dt="2022-12-19T03:38:01.931" v="4020" actId="1076"/>
          <ac:picMkLst>
            <pc:docMk/>
            <pc:sldMk cId="2445123285" sldId="2141410981"/>
            <ac:picMk id="26" creationId="{B2851D59-C654-9AD4-6637-BD14E2575D1F}"/>
          </ac:picMkLst>
        </pc:picChg>
      </pc:sldChg>
      <pc:sldChg chg="addSp delSp modSp add mod ord">
        <pc:chgData name="Li, Katrina" userId="d5a66c08-f3e0-4c8b-8867-c35572346045" providerId="ADAL" clId="{065E949B-2E3F-471B-A006-402445D5F868}" dt="2022-12-19T03:38:29.672" v="4023" actId="1038"/>
        <pc:sldMkLst>
          <pc:docMk/>
          <pc:sldMk cId="2930488763" sldId="2141410982"/>
        </pc:sldMkLst>
        <pc:spChg chg="mod">
          <ac:chgData name="Li, Katrina" userId="d5a66c08-f3e0-4c8b-8867-c35572346045" providerId="ADAL" clId="{065E949B-2E3F-471B-A006-402445D5F868}" dt="2022-12-19T00:10:56.091" v="3178" actId="20577"/>
          <ac:spMkLst>
            <pc:docMk/>
            <pc:sldMk cId="2930488763" sldId="2141410982"/>
            <ac:spMk id="2" creationId="{53F2A13D-985C-D9D9-D787-2A003E965A1C}"/>
          </ac:spMkLst>
        </pc:spChg>
        <pc:spChg chg="add mod">
          <ac:chgData name="Li, Katrina" userId="d5a66c08-f3e0-4c8b-8867-c35572346045" providerId="ADAL" clId="{065E949B-2E3F-471B-A006-402445D5F868}" dt="2022-12-19T03:36:39.378" v="3959" actId="20577"/>
          <ac:spMkLst>
            <pc:docMk/>
            <pc:sldMk cId="2930488763" sldId="2141410982"/>
            <ac:spMk id="9" creationId="{3230870E-67B1-7214-FB05-A22A26BC6B29}"/>
          </ac:spMkLst>
        </pc:spChg>
        <pc:spChg chg="del mod">
          <ac:chgData name="Li, Katrina" userId="d5a66c08-f3e0-4c8b-8867-c35572346045" providerId="ADAL" clId="{065E949B-2E3F-471B-A006-402445D5F868}" dt="2022-12-19T03:34:50.006" v="3732"/>
          <ac:spMkLst>
            <pc:docMk/>
            <pc:sldMk cId="2930488763" sldId="2141410982"/>
            <ac:spMk id="16" creationId="{480022F3-ABB5-4FBC-8D57-CA68D669CA88}"/>
          </ac:spMkLst>
        </pc:spChg>
        <pc:spChg chg="mod">
          <ac:chgData name="Li, Katrina" userId="d5a66c08-f3e0-4c8b-8867-c35572346045" providerId="ADAL" clId="{065E949B-2E3F-471B-A006-402445D5F868}" dt="2022-12-19T03:35:37.331" v="3827" actId="20577"/>
          <ac:spMkLst>
            <pc:docMk/>
            <pc:sldMk cId="2930488763" sldId="2141410982"/>
            <ac:spMk id="65" creationId="{1513C5E4-06C9-FD2D-127E-462BDB678A99}"/>
          </ac:spMkLst>
        </pc:spChg>
        <pc:spChg chg="mod">
          <ac:chgData name="Li, Katrina" userId="d5a66c08-f3e0-4c8b-8867-c35572346045" providerId="ADAL" clId="{065E949B-2E3F-471B-A006-402445D5F868}" dt="2022-12-19T03:34:34.812" v="3729"/>
          <ac:spMkLst>
            <pc:docMk/>
            <pc:sldMk cId="2930488763" sldId="2141410982"/>
            <ac:spMk id="68" creationId="{D1715F63-6604-972B-FFEB-7F0C4D78C3A6}"/>
          </ac:spMkLst>
        </pc:spChg>
        <pc:picChg chg="mod">
          <ac:chgData name="Li, Katrina" userId="d5a66c08-f3e0-4c8b-8867-c35572346045" providerId="ADAL" clId="{065E949B-2E3F-471B-A006-402445D5F868}" dt="2022-12-19T03:34:08.417" v="3727" actId="1037"/>
          <ac:picMkLst>
            <pc:docMk/>
            <pc:sldMk cId="2930488763" sldId="2141410982"/>
            <ac:picMk id="7" creationId="{8B57060D-B542-EDF6-150E-2A4C304A6FAF}"/>
          </ac:picMkLst>
        </pc:picChg>
        <pc:picChg chg="add mod">
          <ac:chgData name="Li, Katrina" userId="d5a66c08-f3e0-4c8b-8867-c35572346045" providerId="ADAL" clId="{065E949B-2E3F-471B-A006-402445D5F868}" dt="2022-12-19T03:34:56.121" v="3733" actId="1076"/>
          <ac:picMkLst>
            <pc:docMk/>
            <pc:sldMk cId="2930488763" sldId="2141410982"/>
            <ac:picMk id="8" creationId="{6227EDA8-8B97-8C7F-9EFD-8C31107157D9}"/>
          </ac:picMkLst>
        </pc:picChg>
        <pc:picChg chg="mod">
          <ac:chgData name="Li, Katrina" userId="d5a66c08-f3e0-4c8b-8867-c35572346045" providerId="ADAL" clId="{065E949B-2E3F-471B-A006-402445D5F868}" dt="2022-12-19T03:34:08.417" v="3727" actId="1037"/>
          <ac:picMkLst>
            <pc:docMk/>
            <pc:sldMk cId="2930488763" sldId="2141410982"/>
            <ac:picMk id="11" creationId="{2DB67F83-7157-67C1-367C-347D116A1AA6}"/>
          </ac:picMkLst>
        </pc:picChg>
        <pc:picChg chg="mod">
          <ac:chgData name="Li, Katrina" userId="d5a66c08-f3e0-4c8b-8867-c35572346045" providerId="ADAL" clId="{065E949B-2E3F-471B-A006-402445D5F868}" dt="2022-12-19T03:38:29.672" v="4023" actId="1038"/>
          <ac:picMkLst>
            <pc:docMk/>
            <pc:sldMk cId="2930488763" sldId="2141410982"/>
            <ac:picMk id="13" creationId="{C71EC222-12B5-FE07-BBE6-9745529ACF78}"/>
          </ac:picMkLst>
        </pc:picChg>
        <pc:picChg chg="mod">
          <ac:chgData name="Li, Katrina" userId="d5a66c08-f3e0-4c8b-8867-c35572346045" providerId="ADAL" clId="{065E949B-2E3F-471B-A006-402445D5F868}" dt="2022-12-19T03:33:34.467" v="3715" actId="1076"/>
          <ac:picMkLst>
            <pc:docMk/>
            <pc:sldMk cId="2930488763" sldId="2141410982"/>
            <ac:picMk id="15" creationId="{D8295DEC-4EB0-C546-E91A-A4C044F828F0}"/>
          </ac:picMkLst>
        </pc:picChg>
      </pc:sldChg>
      <pc:sldChg chg="addSp delSp modSp add mod">
        <pc:chgData name="Li, Katrina" userId="d5a66c08-f3e0-4c8b-8867-c35572346045" providerId="ADAL" clId="{065E949B-2E3F-471B-A006-402445D5F868}" dt="2022-12-19T03:10:15.450" v="3694" actId="20577"/>
        <pc:sldMkLst>
          <pc:docMk/>
          <pc:sldMk cId="3134361152" sldId="2141410983"/>
        </pc:sldMkLst>
        <pc:spChg chg="mod">
          <ac:chgData name="Li, Katrina" userId="d5a66c08-f3e0-4c8b-8867-c35572346045" providerId="ADAL" clId="{065E949B-2E3F-471B-A006-402445D5F868}" dt="2022-12-19T00:13:10.240" v="3227" actId="20577"/>
          <ac:spMkLst>
            <pc:docMk/>
            <pc:sldMk cId="3134361152" sldId="2141410983"/>
            <ac:spMk id="3" creationId="{305F9436-CCF7-5AD1-7B91-8AFA3EBE05FE}"/>
          </ac:spMkLst>
        </pc:spChg>
        <pc:spChg chg="mod">
          <ac:chgData name="Li, Katrina" userId="d5a66c08-f3e0-4c8b-8867-c35572346045" providerId="ADAL" clId="{065E949B-2E3F-471B-A006-402445D5F868}" dt="2022-12-19T03:10:15.450" v="3694" actId="20577"/>
          <ac:spMkLst>
            <pc:docMk/>
            <pc:sldMk cId="3134361152" sldId="2141410983"/>
            <ac:spMk id="16" creationId="{480022F3-ABB5-4FBC-8D57-CA68D669CA88}"/>
          </ac:spMkLst>
        </pc:spChg>
        <pc:spChg chg="mod">
          <ac:chgData name="Li, Katrina" userId="d5a66c08-f3e0-4c8b-8867-c35572346045" providerId="ADAL" clId="{065E949B-2E3F-471B-A006-402445D5F868}" dt="2022-12-19T02:59:47.906" v="3529" actId="20577"/>
          <ac:spMkLst>
            <pc:docMk/>
            <pc:sldMk cId="3134361152" sldId="2141410983"/>
            <ac:spMk id="62" creationId="{B1CAB074-EC48-EB0F-F55C-F13F33670B79}"/>
          </ac:spMkLst>
        </pc:spChg>
        <pc:spChg chg="mod">
          <ac:chgData name="Li, Katrina" userId="d5a66c08-f3e0-4c8b-8867-c35572346045" providerId="ADAL" clId="{065E949B-2E3F-471B-A006-402445D5F868}" dt="2022-12-19T03:01:44.779" v="3621" actId="20577"/>
          <ac:spMkLst>
            <pc:docMk/>
            <pc:sldMk cId="3134361152" sldId="2141410983"/>
            <ac:spMk id="65" creationId="{1513C5E4-06C9-FD2D-127E-462BDB678A99}"/>
          </ac:spMkLst>
        </pc:spChg>
        <pc:spChg chg="mod">
          <ac:chgData name="Li, Katrina" userId="d5a66c08-f3e0-4c8b-8867-c35572346045" providerId="ADAL" clId="{065E949B-2E3F-471B-A006-402445D5F868}" dt="2022-12-19T03:00:09.647" v="3562" actId="20577"/>
          <ac:spMkLst>
            <pc:docMk/>
            <pc:sldMk cId="3134361152" sldId="2141410983"/>
            <ac:spMk id="68" creationId="{D1715F63-6604-972B-FFEB-7F0C4D78C3A6}"/>
          </ac:spMkLst>
        </pc:spChg>
        <pc:picChg chg="add mod">
          <ac:chgData name="Li, Katrina" userId="d5a66c08-f3e0-4c8b-8867-c35572346045" providerId="ADAL" clId="{065E949B-2E3F-471B-A006-402445D5F868}" dt="2022-12-19T01:26:07.985" v="3242" actId="1076"/>
          <ac:picMkLst>
            <pc:docMk/>
            <pc:sldMk cId="3134361152" sldId="2141410983"/>
            <ac:picMk id="7" creationId="{2887A430-9F28-3E3F-2735-A528784C4CCA}"/>
          </ac:picMkLst>
        </pc:picChg>
        <pc:picChg chg="add mod">
          <ac:chgData name="Li, Katrina" userId="d5a66c08-f3e0-4c8b-8867-c35572346045" providerId="ADAL" clId="{065E949B-2E3F-471B-A006-402445D5F868}" dt="2022-12-19T01:25:57.998" v="3240" actId="14100"/>
          <ac:picMkLst>
            <pc:docMk/>
            <pc:sldMk cId="3134361152" sldId="2141410983"/>
            <ac:picMk id="9" creationId="{3A424074-4580-38F1-15A2-AF723D73A8D9}"/>
          </ac:picMkLst>
        </pc:picChg>
        <pc:picChg chg="add mod">
          <ac:chgData name="Li, Katrina" userId="d5a66c08-f3e0-4c8b-8867-c35572346045" providerId="ADAL" clId="{065E949B-2E3F-471B-A006-402445D5F868}" dt="2022-12-19T03:02:45.270" v="3629" actId="1076"/>
          <ac:picMkLst>
            <pc:docMk/>
            <pc:sldMk cId="3134361152" sldId="2141410983"/>
            <ac:picMk id="11" creationId="{3C6CF41E-121A-705B-17F3-644EEC053417}"/>
          </ac:picMkLst>
        </pc:picChg>
        <pc:picChg chg="add mod">
          <ac:chgData name="Li, Katrina" userId="d5a66c08-f3e0-4c8b-8867-c35572346045" providerId="ADAL" clId="{065E949B-2E3F-471B-A006-402445D5F868}" dt="2022-12-19T03:02:49.707" v="3630" actId="1076"/>
          <ac:picMkLst>
            <pc:docMk/>
            <pc:sldMk cId="3134361152" sldId="2141410983"/>
            <ac:picMk id="13" creationId="{CF8A34E5-7E97-5772-69C8-484FCE4D5D1A}"/>
          </ac:picMkLst>
        </pc:picChg>
        <pc:picChg chg="del">
          <ac:chgData name="Li, Katrina" userId="d5a66c08-f3e0-4c8b-8867-c35572346045" providerId="ADAL" clId="{065E949B-2E3F-471B-A006-402445D5F868}" dt="2022-12-19T00:13:11.808" v="3228" actId="478"/>
          <ac:picMkLst>
            <pc:docMk/>
            <pc:sldMk cId="3134361152" sldId="2141410983"/>
            <ac:picMk id="18" creationId="{8F0F91C3-DE70-4873-71E1-D7DA04C45729}"/>
          </ac:picMkLst>
        </pc:picChg>
        <pc:picChg chg="del">
          <ac:chgData name="Li, Katrina" userId="d5a66c08-f3e0-4c8b-8867-c35572346045" providerId="ADAL" clId="{065E949B-2E3F-471B-A006-402445D5F868}" dt="2022-12-19T00:13:13.013" v="3229" actId="478"/>
          <ac:picMkLst>
            <pc:docMk/>
            <pc:sldMk cId="3134361152" sldId="2141410983"/>
            <ac:picMk id="20" creationId="{2392B795-8279-6EC9-7F98-5AC688319A95}"/>
          </ac:picMkLst>
        </pc:picChg>
        <pc:picChg chg="del">
          <ac:chgData name="Li, Katrina" userId="d5a66c08-f3e0-4c8b-8867-c35572346045" providerId="ADAL" clId="{065E949B-2E3F-471B-A006-402445D5F868}" dt="2022-12-19T00:13:13.929" v="3230" actId="478"/>
          <ac:picMkLst>
            <pc:docMk/>
            <pc:sldMk cId="3134361152" sldId="2141410983"/>
            <ac:picMk id="22" creationId="{E7CAE04B-10BB-8299-2087-0F5009D0D44F}"/>
          </ac:picMkLst>
        </pc:picChg>
        <pc:picChg chg="del">
          <ac:chgData name="Li, Katrina" userId="d5a66c08-f3e0-4c8b-8867-c35572346045" providerId="ADAL" clId="{065E949B-2E3F-471B-A006-402445D5F868}" dt="2022-12-19T00:13:15.505" v="3231" actId="478"/>
          <ac:picMkLst>
            <pc:docMk/>
            <pc:sldMk cId="3134361152" sldId="2141410983"/>
            <ac:picMk id="24" creationId="{FD7DF0DF-AD97-ED1C-8BEE-ED06F1AD7F0E}"/>
          </ac:picMkLst>
        </pc:picChg>
      </pc:sldChg>
    </pc:docChg>
  </pc:docChgLst>
  <pc:docChgLst>
    <pc:chgData name="Kalva, Sai" userId="S::yte2md@darden.virginia.edu::94f23aad-c8e0-4621-8c27-d8e269f9cd91" providerId="AD" clId="Web-{69C3C88C-9C05-4813-86FF-3BE8A317F840}"/>
    <pc:docChg chg="addSld modSld sldOrd modSection">
      <pc:chgData name="Kalva, Sai" userId="S::yte2md@darden.virginia.edu::94f23aad-c8e0-4621-8c27-d8e269f9cd91" providerId="AD" clId="Web-{69C3C88C-9C05-4813-86FF-3BE8A317F840}" dt="2022-12-18T16:52:11.818" v="84" actId="20577"/>
      <pc:docMkLst>
        <pc:docMk/>
      </pc:docMkLst>
      <pc:sldChg chg="modSp">
        <pc:chgData name="Kalva, Sai" userId="S::yte2md@darden.virginia.edu::94f23aad-c8e0-4621-8c27-d8e269f9cd91" providerId="AD" clId="Web-{69C3C88C-9C05-4813-86FF-3BE8A317F840}" dt="2022-12-18T16:14:04.416" v="51" actId="20577"/>
        <pc:sldMkLst>
          <pc:docMk/>
          <pc:sldMk cId="870337942" sldId="369"/>
        </pc:sldMkLst>
        <pc:spChg chg="mod">
          <ac:chgData name="Kalva, Sai" userId="S::yte2md@darden.virginia.edu::94f23aad-c8e0-4621-8c27-d8e269f9cd91" providerId="AD" clId="Web-{69C3C88C-9C05-4813-86FF-3BE8A317F840}" dt="2022-12-18T16:14:04.416" v="51" actId="20577"/>
          <ac:spMkLst>
            <pc:docMk/>
            <pc:sldMk cId="870337942" sldId="369"/>
            <ac:spMk id="2" creationId="{2258F4F8-FD96-2A9F-7359-331BC5A4A3E3}"/>
          </ac:spMkLst>
        </pc:spChg>
      </pc:sldChg>
      <pc:sldChg chg="delSp modSp">
        <pc:chgData name="Kalva, Sai" userId="S::yte2md@darden.virginia.edu::94f23aad-c8e0-4621-8c27-d8e269f9cd91" providerId="AD" clId="Web-{69C3C88C-9C05-4813-86FF-3BE8A317F840}" dt="2022-12-18T16:33:41.282" v="62" actId="20577"/>
        <pc:sldMkLst>
          <pc:docMk/>
          <pc:sldMk cId="3032269542" sldId="371"/>
        </pc:sldMkLst>
        <pc:spChg chg="mod">
          <ac:chgData name="Kalva, Sai" userId="S::yte2md@darden.virginia.edu::94f23aad-c8e0-4621-8c27-d8e269f9cd91" providerId="AD" clId="Web-{69C3C88C-9C05-4813-86FF-3BE8A317F840}" dt="2022-12-18T16:33:41.282" v="62" actId="20577"/>
          <ac:spMkLst>
            <pc:docMk/>
            <pc:sldMk cId="3032269542" sldId="371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69C3C88C-9C05-4813-86FF-3BE8A317F840}" dt="2022-12-18T16:14:23.261" v="57" actId="14100"/>
          <ac:spMkLst>
            <pc:docMk/>
            <pc:sldMk cId="3032269542" sldId="371"/>
            <ac:spMk id="3" creationId="{305F9436-CCF7-5AD1-7B91-8AFA3EBE05FE}"/>
          </ac:spMkLst>
        </pc:spChg>
        <pc:spChg chg="del">
          <ac:chgData name="Kalva, Sai" userId="S::yte2md@darden.virginia.edu::94f23aad-c8e0-4621-8c27-d8e269f9cd91" providerId="AD" clId="Web-{69C3C88C-9C05-4813-86FF-3BE8A317F840}" dt="2022-12-18T16:14:17.276" v="55"/>
          <ac:spMkLst>
            <pc:docMk/>
            <pc:sldMk cId="3032269542" sldId="371"/>
            <ac:spMk id="4" creationId="{5C1F08BB-CC62-6E94-9EC2-A5B57DA2E510}"/>
          </ac:spMkLst>
        </pc:spChg>
      </pc:sldChg>
      <pc:sldChg chg="modSp ord">
        <pc:chgData name="Kalva, Sai" userId="S::yte2md@darden.virginia.edu::94f23aad-c8e0-4621-8c27-d8e269f9cd91" providerId="AD" clId="Web-{69C3C88C-9C05-4813-86FF-3BE8A317F840}" dt="2022-12-18T16:51:37.442" v="83"/>
        <pc:sldMkLst>
          <pc:docMk/>
          <pc:sldMk cId="1914787046" sldId="372"/>
        </pc:sldMkLst>
        <pc:spChg chg="mod">
          <ac:chgData name="Kalva, Sai" userId="S::yte2md@darden.virginia.edu::94f23aad-c8e0-4621-8c27-d8e269f9cd91" providerId="AD" clId="Web-{69C3C88C-9C05-4813-86FF-3BE8A317F840}" dt="2022-12-18T16:51:06.003" v="64" actId="20577"/>
          <ac:spMkLst>
            <pc:docMk/>
            <pc:sldMk cId="1914787046" sldId="372"/>
            <ac:spMk id="2" creationId="{2258F4F8-FD96-2A9F-7359-331BC5A4A3E3}"/>
          </ac:spMkLst>
        </pc:spChg>
      </pc:sldChg>
      <pc:sldChg chg="modSp add replId">
        <pc:chgData name="Kalva, Sai" userId="S::yte2md@darden.virginia.edu::94f23aad-c8e0-4621-8c27-d8e269f9cd91" providerId="AD" clId="Web-{69C3C88C-9C05-4813-86FF-3BE8A317F840}" dt="2022-12-18T16:52:11.818" v="84" actId="20577"/>
        <pc:sldMkLst>
          <pc:docMk/>
          <pc:sldMk cId="2336129016" sldId="390"/>
        </pc:sldMkLst>
        <pc:spChg chg="mod">
          <ac:chgData name="Kalva, Sai" userId="S::yte2md@darden.virginia.edu::94f23aad-c8e0-4621-8c27-d8e269f9cd91" providerId="AD" clId="Web-{69C3C88C-9C05-4813-86FF-3BE8A317F840}" dt="2022-12-18T16:52:11.818" v="84" actId="20577"/>
          <ac:spMkLst>
            <pc:docMk/>
            <pc:sldMk cId="2336129016" sldId="390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69C3C88C-9C05-4813-86FF-3BE8A317F840}" dt="2022-12-18T16:51:28.551" v="82" actId="20577"/>
          <ac:spMkLst>
            <pc:docMk/>
            <pc:sldMk cId="2336129016" sldId="390"/>
            <ac:spMk id="3" creationId="{305F9436-CCF7-5AD1-7B91-8AFA3EBE05FE}"/>
          </ac:spMkLst>
        </pc:spChg>
      </pc:sldChg>
    </pc:docChg>
  </pc:docChgLst>
  <pc:docChgLst>
    <pc:chgData name="Kalva, Sai" userId="S::yte2md@darden.virginia.edu::94f23aad-c8e0-4621-8c27-d8e269f9cd91" providerId="AD" clId="Web-{AFB2A5F2-28C9-43E4-95F5-742AA506701A}"/>
    <pc:docChg chg="modSld">
      <pc:chgData name="Kalva, Sai" userId="S::yte2md@darden.virginia.edu::94f23aad-c8e0-4621-8c27-d8e269f9cd91" providerId="AD" clId="Web-{AFB2A5F2-28C9-43E4-95F5-742AA506701A}" dt="2022-12-08T21:49:33.033" v="0" actId="1076"/>
      <pc:docMkLst>
        <pc:docMk/>
      </pc:docMkLst>
      <pc:sldChg chg="modSp">
        <pc:chgData name="Kalva, Sai" userId="S::yte2md@darden.virginia.edu::94f23aad-c8e0-4621-8c27-d8e269f9cd91" providerId="AD" clId="Web-{AFB2A5F2-28C9-43E4-95F5-742AA506701A}" dt="2022-12-08T21:49:33.033" v="0" actId="1076"/>
        <pc:sldMkLst>
          <pc:docMk/>
          <pc:sldMk cId="1694008698" sldId="368"/>
        </pc:sldMkLst>
        <pc:spChg chg="mod">
          <ac:chgData name="Kalva, Sai" userId="S::yte2md@darden.virginia.edu::94f23aad-c8e0-4621-8c27-d8e269f9cd91" providerId="AD" clId="Web-{AFB2A5F2-28C9-43E4-95F5-742AA506701A}" dt="2022-12-08T21:49:33.033" v="0" actId="1076"/>
          <ac:spMkLst>
            <pc:docMk/>
            <pc:sldMk cId="1694008698" sldId="368"/>
            <ac:spMk id="4" creationId="{D1541650-39E7-C049-DA55-4F81F25D45E3}"/>
          </ac:spMkLst>
        </pc:spChg>
      </pc:sldChg>
    </pc:docChg>
  </pc:docChgLst>
  <pc:docChgLst>
    <pc:chgData name="Kalva, Sai" userId="S::yte2md@darden.virginia.edu::94f23aad-c8e0-4621-8c27-d8e269f9cd91" providerId="AD" clId="Web-{2A09A1CC-E7DC-4856-9F19-B28DADC1163D}"/>
    <pc:docChg chg="addSld modSld modSection">
      <pc:chgData name="Kalva, Sai" userId="S::yte2md@darden.virginia.edu::94f23aad-c8e0-4621-8c27-d8e269f9cd91" providerId="AD" clId="Web-{2A09A1CC-E7DC-4856-9F19-B28DADC1163D}" dt="2022-12-08T22:04:28.474" v="133" actId="14100"/>
      <pc:docMkLst>
        <pc:docMk/>
      </pc:docMkLst>
      <pc:sldChg chg="addSp delSp modSp add replId">
        <pc:chgData name="Kalva, Sai" userId="S::yte2md@darden.virginia.edu::94f23aad-c8e0-4621-8c27-d8e269f9cd91" providerId="AD" clId="Web-{2A09A1CC-E7DC-4856-9F19-B28DADC1163D}" dt="2022-12-08T22:04:28.474" v="133" actId="14100"/>
        <pc:sldMkLst>
          <pc:docMk/>
          <pc:sldMk cId="499886420" sldId="376"/>
        </pc:sldMkLst>
        <pc:spChg chg="del mod">
          <ac:chgData name="Kalva, Sai" userId="S::yte2md@darden.virginia.edu::94f23aad-c8e0-4621-8c27-d8e269f9cd91" providerId="AD" clId="Web-{2A09A1CC-E7DC-4856-9F19-B28DADC1163D}" dt="2022-12-08T21:55:12.592" v="7"/>
          <ac:spMkLst>
            <pc:docMk/>
            <pc:sldMk cId="499886420" sldId="376"/>
            <ac:spMk id="2" creationId="{CF1258F7-8BB6-25D7-25BB-A57286977D5B}"/>
          </ac:spMkLst>
        </pc:spChg>
        <pc:spChg chg="mod">
          <ac:chgData name="Kalva, Sai" userId="S::yte2md@darden.virginia.edu::94f23aad-c8e0-4621-8c27-d8e269f9cd91" providerId="AD" clId="Web-{2A09A1CC-E7DC-4856-9F19-B28DADC1163D}" dt="2022-12-08T22:04:28.474" v="133" actId="14100"/>
          <ac:spMkLst>
            <pc:docMk/>
            <pc:sldMk cId="499886420" sldId="376"/>
            <ac:spMk id="3" creationId="{B263EB24-4EBD-C158-9509-5F238A94E16D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6:07.188" v="24"/>
          <ac:spMkLst>
            <pc:docMk/>
            <pc:sldMk cId="499886420" sldId="376"/>
            <ac:spMk id="6" creationId="{A89A646C-418E-B2E1-7FDC-A049AB342F7D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6:15.688" v="26"/>
          <ac:spMkLst>
            <pc:docMk/>
            <pc:sldMk cId="499886420" sldId="376"/>
            <ac:spMk id="9" creationId="{0827283C-73CF-5372-88E5-089DC956E700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6:15.688" v="25"/>
          <ac:spMkLst>
            <pc:docMk/>
            <pc:sldMk cId="499886420" sldId="376"/>
            <ac:spMk id="10" creationId="{37204DC0-DF3A-DFF9-ACB9-C20DA4A0D7F9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9:58.322" v="54"/>
          <ac:spMkLst>
            <pc:docMk/>
            <pc:sldMk cId="499886420" sldId="376"/>
            <ac:spMk id="11" creationId="{1BD625D5-08B6-C799-3936-1259FD20BBB7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2:00:02.135" v="55"/>
          <ac:spMkLst>
            <pc:docMk/>
            <pc:sldMk cId="499886420" sldId="376"/>
            <ac:spMk id="12" creationId="{887737AB-EE9F-0907-F927-08AFD3F2D76A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9:58.322" v="53"/>
          <ac:spMkLst>
            <pc:docMk/>
            <pc:sldMk cId="499886420" sldId="376"/>
            <ac:spMk id="13" creationId="{9C21E6EE-D456-A1CF-7632-7D7BE13949F7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9:58.322" v="52"/>
          <ac:spMkLst>
            <pc:docMk/>
            <pc:sldMk cId="499886420" sldId="376"/>
            <ac:spMk id="14" creationId="{8DFC1847-D900-D27A-F38E-AFE71A59C194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1:59:58.322" v="51"/>
          <ac:spMkLst>
            <pc:docMk/>
            <pc:sldMk cId="499886420" sldId="376"/>
            <ac:spMk id="15" creationId="{78338E9E-E636-0B01-AB73-D51303D86382}"/>
          </ac:spMkLst>
        </pc:spChg>
        <pc:spChg chg="add del mod">
          <ac:chgData name="Kalva, Sai" userId="S::yte2md@darden.virginia.edu::94f23aad-c8e0-4621-8c27-d8e269f9cd91" providerId="AD" clId="Web-{2A09A1CC-E7DC-4856-9F19-B28DADC1163D}" dt="2022-12-08T22:00:36.199" v="57"/>
          <ac:spMkLst>
            <pc:docMk/>
            <pc:sldMk cId="499886420" sldId="376"/>
            <ac:spMk id="16" creationId="{DED56FBC-D67E-0797-6A75-A50F0A62713D}"/>
          </ac:spMkLst>
        </pc:spChg>
        <pc:spChg chg="add del">
          <ac:chgData name="Kalva, Sai" userId="S::yte2md@darden.virginia.edu::94f23aad-c8e0-4621-8c27-d8e269f9cd91" providerId="AD" clId="Web-{2A09A1CC-E7DC-4856-9F19-B28DADC1163D}" dt="2022-12-08T22:02:27.672" v="107"/>
          <ac:spMkLst>
            <pc:docMk/>
            <pc:sldMk cId="499886420" sldId="376"/>
            <ac:spMk id="616" creationId="{97F9C2E9-B5BA-5B4E-7869-8AED3E0DD403}"/>
          </ac:spMkLst>
        </pc:spChg>
        <pc:spChg chg="add mod">
          <ac:chgData name="Kalva, Sai" userId="S::yte2md@darden.virginia.edu::94f23aad-c8e0-4621-8c27-d8e269f9cd91" providerId="AD" clId="Web-{2A09A1CC-E7DC-4856-9F19-B28DADC1163D}" dt="2022-12-08T22:03:37.925" v="123" actId="1076"/>
          <ac:spMkLst>
            <pc:docMk/>
            <pc:sldMk cId="499886420" sldId="376"/>
            <ac:spMk id="628" creationId="{03A222EC-C28C-AA0D-7794-53327DB61F6C}"/>
          </ac:spMkLst>
        </pc:spChg>
        <pc:graphicFrameChg chg="add mod ord modGraphic">
          <ac:chgData name="Kalva, Sai" userId="S::yte2md@darden.virginia.edu::94f23aad-c8e0-4621-8c27-d8e269f9cd91" providerId="AD" clId="Web-{2A09A1CC-E7DC-4856-9F19-B28DADC1163D}" dt="2022-12-08T22:02:50.330" v="115" actId="14100"/>
          <ac:graphicFrameMkLst>
            <pc:docMk/>
            <pc:sldMk cId="499886420" sldId="376"/>
            <ac:graphicFrameMk id="21" creationId="{15B6C682-4F3F-EFA1-511F-92AF26215618}"/>
          </ac:graphicFrameMkLst>
        </pc:graphicFrameChg>
        <pc:picChg chg="del">
          <ac:chgData name="Kalva, Sai" userId="S::yte2md@darden.virginia.edu::94f23aad-c8e0-4621-8c27-d8e269f9cd91" providerId="AD" clId="Web-{2A09A1CC-E7DC-4856-9F19-B28DADC1163D}" dt="2022-12-08T21:54:41.575" v="1"/>
          <ac:picMkLst>
            <pc:docMk/>
            <pc:sldMk cId="499886420" sldId="376"/>
            <ac:picMk id="8" creationId="{18670D86-0721-649A-FE8E-D7029DD8D004}"/>
          </ac:picMkLst>
        </pc:picChg>
        <pc:picChg chg="add mod">
          <ac:chgData name="Kalva, Sai" userId="S::yte2md@darden.virginia.edu::94f23aad-c8e0-4621-8c27-d8e269f9cd91" providerId="AD" clId="Web-{2A09A1CC-E7DC-4856-9F19-B28DADC1163D}" dt="2022-12-08T22:03:32.425" v="121" actId="1076"/>
          <ac:picMkLst>
            <pc:docMk/>
            <pc:sldMk cId="499886420" sldId="376"/>
            <ac:picMk id="17" creationId="{8DAD8A01-BC65-3742-2C7F-94A13EB6F2B2}"/>
          </ac:picMkLst>
        </pc:picChg>
        <pc:cxnChg chg="add del mod">
          <ac:chgData name="Kalva, Sai" userId="S::yte2md@darden.virginia.edu::94f23aad-c8e0-4621-8c27-d8e269f9cd91" providerId="AD" clId="Web-{2A09A1CC-E7DC-4856-9F19-B28DADC1163D}" dt="2022-12-08T21:57:47.067" v="39"/>
          <ac:cxnSpMkLst>
            <pc:docMk/>
            <pc:sldMk cId="499886420" sldId="376"/>
            <ac:cxnSpMk id="18" creationId="{D3DE7DBA-B11D-D24F-4231-30365A99D381}"/>
          </ac:cxnSpMkLst>
        </pc:cxnChg>
        <pc:cxnChg chg="add del mod">
          <ac:chgData name="Kalva, Sai" userId="S::yte2md@darden.virginia.edu::94f23aad-c8e0-4621-8c27-d8e269f9cd91" providerId="AD" clId="Web-{2A09A1CC-E7DC-4856-9F19-B28DADC1163D}" dt="2022-12-08T21:58:23.725" v="43"/>
          <ac:cxnSpMkLst>
            <pc:docMk/>
            <pc:sldMk cId="499886420" sldId="376"/>
            <ac:cxnSpMk id="19" creationId="{C716DFDA-4F66-D0F4-02F7-C8A3E0DFD5E9}"/>
          </ac:cxnSpMkLst>
        </pc:cxnChg>
        <pc:cxnChg chg="add del mod">
          <ac:chgData name="Kalva, Sai" userId="S::yte2md@darden.virginia.edu::94f23aad-c8e0-4621-8c27-d8e269f9cd91" providerId="AD" clId="Web-{2A09A1CC-E7DC-4856-9F19-B28DADC1163D}" dt="2022-12-08T21:59:16.727" v="47"/>
          <ac:cxnSpMkLst>
            <pc:docMk/>
            <pc:sldMk cId="499886420" sldId="376"/>
            <ac:cxnSpMk id="20" creationId="{F288A72D-1F69-2C5F-509E-122852B48983}"/>
          </ac:cxnSpMkLst>
        </pc:cxnChg>
      </pc:sldChg>
    </pc:docChg>
  </pc:docChgLst>
  <pc:docChgLst>
    <pc:chgData name="Kalva, Sai" userId="S::yte2md@darden.virginia.edu::94f23aad-c8e0-4621-8c27-d8e269f9cd91" providerId="AD" clId="Web-{E5C5C502-4706-47FA-B09F-569212B1BAEF}"/>
    <pc:docChg chg="addSld modSld modSection">
      <pc:chgData name="Kalva, Sai" userId="S::yte2md@darden.virginia.edu::94f23aad-c8e0-4621-8c27-d8e269f9cd91" providerId="AD" clId="Web-{E5C5C502-4706-47FA-B09F-569212B1BAEF}" dt="2022-12-18T22:16:59.496" v="295" actId="20577"/>
      <pc:docMkLst>
        <pc:docMk/>
      </pc:docMkLst>
      <pc:sldChg chg="addSp delSp modSp">
        <pc:chgData name="Kalva, Sai" userId="S::yte2md@darden.virginia.edu::94f23aad-c8e0-4621-8c27-d8e269f9cd91" providerId="AD" clId="Web-{E5C5C502-4706-47FA-B09F-569212B1BAEF}" dt="2022-12-18T22:10:18.765" v="258" actId="20577"/>
        <pc:sldMkLst>
          <pc:docMk/>
          <pc:sldMk cId="870337942" sldId="369"/>
        </pc:sldMkLst>
        <pc:spChg chg="mod">
          <ac:chgData name="Kalva, Sai" userId="S::yte2md@darden.virginia.edu::94f23aad-c8e0-4621-8c27-d8e269f9cd91" providerId="AD" clId="Web-{E5C5C502-4706-47FA-B09F-569212B1BAEF}" dt="2022-12-18T22:10:18.765" v="258" actId="20577"/>
          <ac:spMkLst>
            <pc:docMk/>
            <pc:sldMk cId="870337942" sldId="369"/>
            <ac:spMk id="2" creationId="{2258F4F8-FD96-2A9F-7359-331BC5A4A3E3}"/>
          </ac:spMkLst>
        </pc:spChg>
        <pc:spChg chg="mod">
          <ac:chgData name="Kalva, Sai" userId="S::yte2md@darden.virginia.edu::94f23aad-c8e0-4621-8c27-d8e269f9cd91" providerId="AD" clId="Web-{E5C5C502-4706-47FA-B09F-569212B1BAEF}" dt="2022-12-18T22:02:06.797" v="223" actId="1076"/>
          <ac:spMkLst>
            <pc:docMk/>
            <pc:sldMk cId="870337942" sldId="369"/>
            <ac:spMk id="3" creationId="{305F9436-CCF7-5AD1-7B91-8AFA3EBE05FE}"/>
          </ac:spMkLst>
        </pc:spChg>
        <pc:spChg chg="add">
          <ac:chgData name="Kalva, Sai" userId="S::yte2md@darden.virginia.edu::94f23aad-c8e0-4621-8c27-d8e269f9cd91" providerId="AD" clId="Web-{E5C5C502-4706-47FA-B09F-569212B1BAEF}" dt="2022-12-18T22:01:28.843" v="217"/>
          <ac:spMkLst>
            <pc:docMk/>
            <pc:sldMk cId="870337942" sldId="369"/>
            <ac:spMk id="5" creationId="{DD23352E-B574-98D0-A498-EE2E51B5AE02}"/>
          </ac:spMkLst>
        </pc:spChg>
        <pc:spChg chg="del">
          <ac:chgData name="Kalva, Sai" userId="S::yte2md@darden.virginia.edu::94f23aad-c8e0-4621-8c27-d8e269f9cd91" providerId="AD" clId="Web-{E5C5C502-4706-47FA-B09F-569212B1BAEF}" dt="2022-12-18T22:01:42.593" v="218"/>
          <ac:spMkLst>
            <pc:docMk/>
            <pc:sldMk cId="870337942" sldId="369"/>
            <ac:spMk id="12" creationId="{EEB494F2-C254-329A-1FDE-ECF5E8049889}"/>
          </ac:spMkLst>
        </pc:spChg>
      </pc:sldChg>
      <pc:sldChg chg="addSp modSp">
        <pc:chgData name="Kalva, Sai" userId="S::yte2md@darden.virginia.edu::94f23aad-c8e0-4621-8c27-d8e269f9cd91" providerId="AD" clId="Web-{E5C5C502-4706-47FA-B09F-569212B1BAEF}" dt="2022-12-18T22:16:59.496" v="295" actId="20577"/>
        <pc:sldMkLst>
          <pc:docMk/>
          <pc:sldMk cId="2336129016" sldId="390"/>
        </pc:sldMkLst>
        <pc:spChg chg="mod">
          <ac:chgData name="Kalva, Sai" userId="S::yte2md@darden.virginia.edu::94f23aad-c8e0-4621-8c27-d8e269f9cd91" providerId="AD" clId="Web-{E5C5C502-4706-47FA-B09F-569212B1BAEF}" dt="2022-12-18T22:04:40.239" v="224" actId="1076"/>
          <ac:spMkLst>
            <pc:docMk/>
            <pc:sldMk cId="2336129016" sldId="390"/>
            <ac:spMk id="3" creationId="{305F9436-CCF7-5AD1-7B91-8AFA3EBE05FE}"/>
          </ac:spMkLst>
        </pc:spChg>
        <pc:spChg chg="add">
          <ac:chgData name="Kalva, Sai" userId="S::yte2md@darden.virginia.edu::94f23aad-c8e0-4621-8c27-d8e269f9cd91" providerId="AD" clId="Web-{E5C5C502-4706-47FA-B09F-569212B1BAEF}" dt="2022-12-18T22:04:48.161" v="239"/>
          <ac:spMkLst>
            <pc:docMk/>
            <pc:sldMk cId="2336129016" sldId="390"/>
            <ac:spMk id="4" creationId="{9F0BE54D-3FD3-0623-F3E6-E364FFA2D44A}"/>
          </ac:spMkLst>
        </pc:spChg>
        <pc:spChg chg="mod">
          <ac:chgData name="Kalva, Sai" userId="S::yte2md@darden.virginia.edu::94f23aad-c8e0-4621-8c27-d8e269f9cd91" providerId="AD" clId="Web-{E5C5C502-4706-47FA-B09F-569212B1BAEF}" dt="2022-12-18T22:04:40.333" v="229" actId="1076"/>
          <ac:spMkLst>
            <pc:docMk/>
            <pc:sldMk cId="2336129016" sldId="390"/>
            <ac:spMk id="13" creationId="{8FA0F9B6-99AC-5CC5-0A9E-B3C81C129A79}"/>
          </ac:spMkLst>
        </pc:spChg>
        <pc:spChg chg="mod">
          <ac:chgData name="Kalva, Sai" userId="S::yte2md@darden.virginia.edu::94f23aad-c8e0-4621-8c27-d8e269f9cd91" providerId="AD" clId="Web-{E5C5C502-4706-47FA-B09F-569212B1BAEF}" dt="2022-12-18T22:15:45.603" v="262" actId="20577"/>
          <ac:spMkLst>
            <pc:docMk/>
            <pc:sldMk cId="2336129016" sldId="390"/>
            <ac:spMk id="14" creationId="{878746A9-E886-E604-FDA8-C1961ED18C5F}"/>
          </ac:spMkLst>
        </pc:spChg>
        <pc:spChg chg="mod">
          <ac:chgData name="Kalva, Sai" userId="S::yte2md@darden.virginia.edu::94f23aad-c8e0-4621-8c27-d8e269f9cd91" providerId="AD" clId="Web-{E5C5C502-4706-47FA-B09F-569212B1BAEF}" dt="2022-12-18T22:16:59.496" v="295" actId="20577"/>
          <ac:spMkLst>
            <pc:docMk/>
            <pc:sldMk cId="2336129016" sldId="390"/>
            <ac:spMk id="15" creationId="{B990E2E7-4966-16F1-D0F2-79B6EE34FA34}"/>
          </ac:spMkLst>
        </pc:spChg>
        <pc:spChg chg="mod">
          <ac:chgData name="Kalva, Sai" userId="S::yte2md@darden.virginia.edu::94f23aad-c8e0-4621-8c27-d8e269f9cd91" providerId="AD" clId="Web-{E5C5C502-4706-47FA-B09F-569212B1BAEF}" dt="2022-12-18T22:04:40.489" v="235" actId="1076"/>
          <ac:spMkLst>
            <pc:docMk/>
            <pc:sldMk cId="2336129016" sldId="390"/>
            <ac:spMk id="20" creationId="{89D2C5BD-BEAD-2150-C6F2-58ABBF63FCCD}"/>
          </ac:spMkLst>
        </pc:spChg>
        <pc:cxnChg chg="mod">
          <ac:chgData name="Kalva, Sai" userId="S::yte2md@darden.virginia.edu::94f23aad-c8e0-4621-8c27-d8e269f9cd91" providerId="AD" clId="Web-{E5C5C502-4706-47FA-B09F-569212B1BAEF}" dt="2022-12-18T22:04:40.255" v="225" actId="1076"/>
          <ac:cxnSpMkLst>
            <pc:docMk/>
            <pc:sldMk cId="2336129016" sldId="390"/>
            <ac:cxnSpMk id="6" creationId="{5BAD2701-2ABA-12B2-30DE-A50900C2E27C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270" v="226" actId="1076"/>
          <ac:cxnSpMkLst>
            <pc:docMk/>
            <pc:sldMk cId="2336129016" sldId="390"/>
            <ac:cxnSpMk id="8" creationId="{0585CFFE-ED6E-15C4-8F62-5C4285E83E23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302" v="227" actId="1076"/>
          <ac:cxnSpMkLst>
            <pc:docMk/>
            <pc:sldMk cId="2336129016" sldId="390"/>
            <ac:cxnSpMk id="9" creationId="{ACCA88DF-D5CB-CA3F-C764-B71A3FBFE2B0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317" v="228" actId="1076"/>
          <ac:cxnSpMkLst>
            <pc:docMk/>
            <pc:sldMk cId="2336129016" sldId="390"/>
            <ac:cxnSpMk id="12" creationId="{4278E09C-AB93-257F-F332-5C8C7BF9ECF7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427" v="232" actId="1076"/>
          <ac:cxnSpMkLst>
            <pc:docMk/>
            <pc:sldMk cId="2336129016" sldId="390"/>
            <ac:cxnSpMk id="17" creationId="{5D3B24F6-A8B2-22C1-F9D1-857D074047BE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442" v="233" actId="1076"/>
          <ac:cxnSpMkLst>
            <pc:docMk/>
            <pc:sldMk cId="2336129016" sldId="390"/>
            <ac:cxnSpMk id="18" creationId="{02901BD5-6B58-90DA-1180-D538BC74781B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473" v="234" actId="1076"/>
          <ac:cxnSpMkLst>
            <pc:docMk/>
            <pc:sldMk cId="2336129016" sldId="390"/>
            <ac:cxnSpMk id="19" creationId="{22F6F3FC-E1F8-ECD3-F43E-1CEE61E618AB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505" v="236" actId="1076"/>
          <ac:cxnSpMkLst>
            <pc:docMk/>
            <pc:sldMk cId="2336129016" sldId="390"/>
            <ac:cxnSpMk id="24" creationId="{C929DBB7-EB56-78E5-B84C-C6889BC39063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536" v="237" actId="1076"/>
          <ac:cxnSpMkLst>
            <pc:docMk/>
            <pc:sldMk cId="2336129016" sldId="390"/>
            <ac:cxnSpMk id="25" creationId="{2D92EB4F-3611-F098-7620-DA38DBEE7A10}"/>
          </ac:cxnSpMkLst>
        </pc:cxnChg>
        <pc:cxnChg chg="mod">
          <ac:chgData name="Kalva, Sai" userId="S::yte2md@darden.virginia.edu::94f23aad-c8e0-4621-8c27-d8e269f9cd91" providerId="AD" clId="Web-{E5C5C502-4706-47FA-B09F-569212B1BAEF}" dt="2022-12-18T22:04:40.552" v="238" actId="1076"/>
          <ac:cxnSpMkLst>
            <pc:docMk/>
            <pc:sldMk cId="2336129016" sldId="390"/>
            <ac:cxnSpMk id="26" creationId="{BD202255-BFBE-F5CF-CCC0-23E9C60524F5}"/>
          </ac:cxnSpMkLst>
        </pc:cxnChg>
      </pc:sldChg>
      <pc:sldChg chg="addSp delSp modSp">
        <pc:chgData name="Kalva, Sai" userId="S::yte2md@darden.virginia.edu::94f23aad-c8e0-4621-8c27-d8e269f9cd91" providerId="AD" clId="Web-{E5C5C502-4706-47FA-B09F-569212B1BAEF}" dt="2022-12-18T21:51:26.621" v="216" actId="1076"/>
        <pc:sldMkLst>
          <pc:docMk/>
          <pc:sldMk cId="3905380672" sldId="391"/>
        </pc:sldMkLst>
        <pc:spChg chg="add del mod">
          <ac:chgData name="Kalva, Sai" userId="S::yte2md@darden.virginia.edu::94f23aad-c8e0-4621-8c27-d8e269f9cd91" providerId="AD" clId="Web-{E5C5C502-4706-47FA-B09F-569212B1BAEF}" dt="2022-12-18T21:43:03.543" v="24"/>
          <ac:spMkLst>
            <pc:docMk/>
            <pc:sldMk cId="3905380672" sldId="391"/>
            <ac:spMk id="2" creationId="{1618D9FD-59ED-7D20-E423-B064584E653A}"/>
          </ac:spMkLst>
        </pc:spChg>
        <pc:spChg chg="del">
          <ac:chgData name="Kalva, Sai" userId="S::yte2md@darden.virginia.edu::94f23aad-c8e0-4621-8c27-d8e269f9cd91" providerId="AD" clId="Web-{E5C5C502-4706-47FA-B09F-569212B1BAEF}" dt="2022-12-18T21:29:08.611" v="2"/>
          <ac:spMkLst>
            <pc:docMk/>
            <pc:sldMk cId="3905380672" sldId="391"/>
            <ac:spMk id="5" creationId="{40A2CAAB-A90B-2A37-95C1-4E1E85C4AA57}"/>
          </ac:spMkLst>
        </pc:spChg>
        <pc:spChg chg="mod">
          <ac:chgData name="Kalva, Sai" userId="S::yte2md@darden.virginia.edu::94f23aad-c8e0-4621-8c27-d8e269f9cd91" providerId="AD" clId="Web-{E5C5C502-4706-47FA-B09F-569212B1BAEF}" dt="2022-12-18T21:51:26.621" v="216" actId="1076"/>
          <ac:spMkLst>
            <pc:docMk/>
            <pc:sldMk cId="3905380672" sldId="391"/>
            <ac:spMk id="6" creationId="{2236D48B-C0A3-6727-1EF3-ABE9A009E8F3}"/>
          </ac:spMkLst>
        </pc:spChg>
        <pc:picChg chg="mod">
          <ac:chgData name="Kalva, Sai" userId="S::yte2md@darden.virginia.edu::94f23aad-c8e0-4621-8c27-d8e269f9cd91" providerId="AD" clId="Web-{E5C5C502-4706-47FA-B09F-569212B1BAEF}" dt="2022-12-18T21:33:13.041" v="10" actId="1076"/>
          <ac:picMkLst>
            <pc:docMk/>
            <pc:sldMk cId="3905380672" sldId="391"/>
            <ac:picMk id="4" creationId="{C7F8DE8B-9F8F-3FFD-227E-53CFF0323128}"/>
          </ac:picMkLst>
        </pc:picChg>
      </pc:sldChg>
      <pc:sldChg chg="addSp delSp modSp add replId">
        <pc:chgData name="Kalva, Sai" userId="S::yte2md@darden.virginia.edu::94f23aad-c8e0-4621-8c27-d8e269f9cd91" providerId="AD" clId="Web-{E5C5C502-4706-47FA-B09F-569212B1BAEF}" dt="2022-12-18T21:50:52.761" v="214" actId="20577"/>
        <pc:sldMkLst>
          <pc:docMk/>
          <pc:sldMk cId="3633554423" sldId="2141410975"/>
        </pc:sldMkLst>
        <pc:spChg chg="mod">
          <ac:chgData name="Kalva, Sai" userId="S::yte2md@darden.virginia.edu::94f23aad-c8e0-4621-8c27-d8e269f9cd91" providerId="AD" clId="Web-{E5C5C502-4706-47FA-B09F-569212B1BAEF}" dt="2022-12-18T21:50:52.761" v="214" actId="20577"/>
          <ac:spMkLst>
            <pc:docMk/>
            <pc:sldMk cId="3633554423" sldId="2141410975"/>
            <ac:spMk id="2" creationId="{0F089093-D801-0139-FB7E-65D72CF72D5D}"/>
          </ac:spMkLst>
        </pc:spChg>
        <pc:spChg chg="mod">
          <ac:chgData name="Kalva, Sai" userId="S::yte2md@darden.virginia.edu::94f23aad-c8e0-4621-8c27-d8e269f9cd91" providerId="AD" clId="Web-{E5C5C502-4706-47FA-B09F-569212B1BAEF}" dt="2022-12-18T21:46:59.363" v="120" actId="20577"/>
          <ac:spMkLst>
            <pc:docMk/>
            <pc:sldMk cId="3633554423" sldId="2141410975"/>
            <ac:spMk id="3" creationId="{659E79E2-A8AE-EDFF-155E-6024FA803DF4}"/>
          </ac:spMkLst>
        </pc:spChg>
        <pc:spChg chg="add del mod">
          <ac:chgData name="Kalva, Sai" userId="S::yte2md@darden.virginia.edu::94f23aad-c8e0-4621-8c27-d8e269f9cd91" providerId="AD" clId="Web-{E5C5C502-4706-47FA-B09F-569212B1BAEF}" dt="2022-12-18T21:46:49.785" v="116"/>
          <ac:spMkLst>
            <pc:docMk/>
            <pc:sldMk cId="3633554423" sldId="2141410975"/>
            <ac:spMk id="4" creationId="{BFC9A6F2-5083-A7B0-62B1-322E1E0B623D}"/>
          </ac:spMkLst>
        </pc:spChg>
      </pc:sldChg>
    </pc:docChg>
  </pc:docChgLst>
  <pc:docChgLst>
    <pc:chgData name="Wilson, Benjamin" userId="S::dnr4qq@darden.virginia.edu::5e565093-9b03-48e6-8226-93d7b7cd3493" providerId="AD" clId="Web-{23763563-A54E-43E7-AAEB-4098A1A319DE}"/>
    <pc:docChg chg="delSld modSection">
      <pc:chgData name="Wilson, Benjamin" userId="S::dnr4qq@darden.virginia.edu::5e565093-9b03-48e6-8226-93d7b7cd3493" providerId="AD" clId="Web-{23763563-A54E-43E7-AAEB-4098A1A319DE}" dt="2022-12-19T01:43:28.979" v="0"/>
      <pc:docMkLst>
        <pc:docMk/>
      </pc:docMkLst>
      <pc:sldChg chg="del">
        <pc:chgData name="Wilson, Benjamin" userId="S::dnr4qq@darden.virginia.edu::5e565093-9b03-48e6-8226-93d7b7cd3493" providerId="AD" clId="Web-{23763563-A54E-43E7-AAEB-4098A1A319DE}" dt="2022-12-19T01:43:28.979" v="0"/>
        <pc:sldMkLst>
          <pc:docMk/>
          <pc:sldMk cId="4036484097" sldId="370"/>
        </pc:sldMkLst>
      </pc:sldChg>
    </pc:docChg>
  </pc:docChgLst>
  <pc:docChgLst>
    <pc:chgData name="Salazar, Fernando" userId="S::fjs3gk@darden.virginia.edu::b92d49e5-0a1c-4c70-8c6b-3a5860645d1d" providerId="AD" clId="Web-{A9A62EC4-3552-46E3-AC9B-DA980222052D}"/>
    <pc:docChg chg="modSld">
      <pc:chgData name="Salazar, Fernando" userId="S::fjs3gk@darden.virginia.edu::b92d49e5-0a1c-4c70-8c6b-3a5860645d1d" providerId="AD" clId="Web-{A9A62EC4-3552-46E3-AC9B-DA980222052D}" dt="2022-12-19T14:08:40.565" v="0" actId="1076"/>
      <pc:docMkLst>
        <pc:docMk/>
      </pc:docMkLst>
      <pc:sldChg chg="modSp">
        <pc:chgData name="Salazar, Fernando" userId="S::fjs3gk@darden.virginia.edu::b92d49e5-0a1c-4c70-8c6b-3a5860645d1d" providerId="AD" clId="Web-{A9A62EC4-3552-46E3-AC9B-DA980222052D}" dt="2022-12-19T14:08:40.565" v="0" actId="1076"/>
        <pc:sldMkLst>
          <pc:docMk/>
          <pc:sldMk cId="2646138043" sldId="375"/>
        </pc:sldMkLst>
        <pc:picChg chg="mod">
          <ac:chgData name="Salazar, Fernando" userId="S::fjs3gk@darden.virginia.edu::b92d49e5-0a1c-4c70-8c6b-3a5860645d1d" providerId="AD" clId="Web-{A9A62EC4-3552-46E3-AC9B-DA980222052D}" dt="2022-12-19T14:08:40.565" v="0" actId="1076"/>
          <ac:picMkLst>
            <pc:docMk/>
            <pc:sldMk cId="2646138043" sldId="375"/>
            <ac:picMk id="8" creationId="{18670D86-0721-649A-FE8E-D7029DD8D004}"/>
          </ac:picMkLst>
        </pc:picChg>
      </pc:sldChg>
    </pc:docChg>
  </pc:docChgLst>
  <pc:docChgLst>
    <pc:chgData name="Kalva, Sai" userId="S::yte2md@darden.virginia.edu::94f23aad-c8e0-4621-8c27-d8e269f9cd91" providerId="AD" clId="Web-{5C788E2A-AD8E-4627-96B9-298BEC4B0878}"/>
    <pc:docChg chg="addSld delSld modSld modSection">
      <pc:chgData name="Kalva, Sai" userId="S::yte2md@darden.virginia.edu::94f23aad-c8e0-4621-8c27-d8e269f9cd91" providerId="AD" clId="Web-{5C788E2A-AD8E-4627-96B9-298BEC4B0878}" dt="2022-12-18T22:56:31.851" v="84" actId="1076"/>
      <pc:docMkLst>
        <pc:docMk/>
      </pc:docMkLst>
      <pc:sldChg chg="addSp delSp modSp">
        <pc:chgData name="Kalva, Sai" userId="S::yte2md@darden.virginia.edu::94f23aad-c8e0-4621-8c27-d8e269f9cd91" providerId="AD" clId="Web-{5C788E2A-AD8E-4627-96B9-298BEC4B0878}" dt="2022-12-18T22:35:55.940" v="6"/>
        <pc:sldMkLst>
          <pc:docMk/>
          <pc:sldMk cId="1694008698" sldId="368"/>
        </pc:sldMkLst>
        <pc:spChg chg="add del mod">
          <ac:chgData name="Kalva, Sai" userId="S::yte2md@darden.virginia.edu::94f23aad-c8e0-4621-8c27-d8e269f9cd91" providerId="AD" clId="Web-{5C788E2A-AD8E-4627-96B9-298BEC4B0878}" dt="2022-12-18T22:35:55.940" v="6"/>
          <ac:spMkLst>
            <pc:docMk/>
            <pc:sldMk cId="1694008698" sldId="368"/>
            <ac:spMk id="2" creationId="{9A04ECA1-5197-FFB7-198E-8544043ACE4C}"/>
          </ac:spMkLst>
        </pc:spChg>
        <pc:spChg chg="mod">
          <ac:chgData name="Kalva, Sai" userId="S::yte2md@darden.virginia.edu::94f23aad-c8e0-4621-8c27-d8e269f9cd91" providerId="AD" clId="Web-{5C788E2A-AD8E-4627-96B9-298BEC4B0878}" dt="2022-12-18T22:32:27.920" v="0" actId="14100"/>
          <ac:spMkLst>
            <pc:docMk/>
            <pc:sldMk cId="1694008698" sldId="368"/>
            <ac:spMk id="4" creationId="{D1541650-39E7-C049-DA55-4F81F25D45E3}"/>
          </ac:spMkLst>
        </pc:spChg>
      </pc:sldChg>
      <pc:sldChg chg="addSp delSp modSp">
        <pc:chgData name="Kalva, Sai" userId="S::yte2md@darden.virginia.edu::94f23aad-c8e0-4621-8c27-d8e269f9cd91" providerId="AD" clId="Web-{5C788E2A-AD8E-4627-96B9-298BEC4B0878}" dt="2022-12-18T22:56:31.851" v="84" actId="1076"/>
        <pc:sldMkLst>
          <pc:docMk/>
          <pc:sldMk cId="3968363640" sldId="2141410979"/>
        </pc:sldMkLst>
        <pc:spChg chg="del">
          <ac:chgData name="Kalva, Sai" userId="S::yte2md@darden.virginia.edu::94f23aad-c8e0-4621-8c27-d8e269f9cd91" providerId="AD" clId="Web-{5C788E2A-AD8E-4627-96B9-298BEC4B0878}" dt="2022-12-18T22:54:05.989" v="65"/>
          <ac:spMkLst>
            <pc:docMk/>
            <pc:sldMk cId="3968363640" sldId="2141410979"/>
            <ac:spMk id="4" creationId="{125414A2-31D4-5C41-15CB-76CD4A9725F7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0:30.027" v="52"/>
          <ac:spMkLst>
            <pc:docMk/>
            <pc:sldMk cId="3968363640" sldId="2141410979"/>
            <ac:spMk id="5" creationId="{3B62B598-6EED-CB00-24B7-C01C9BA745C5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0:30.027" v="51"/>
          <ac:spMkLst>
            <pc:docMk/>
            <pc:sldMk cId="3968363640" sldId="2141410979"/>
            <ac:spMk id="7" creationId="{7275C285-B68C-3F1F-A481-4A87AC55AC13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0:30.027" v="50"/>
          <ac:spMkLst>
            <pc:docMk/>
            <pc:sldMk cId="3968363640" sldId="2141410979"/>
            <ac:spMk id="8" creationId="{99769D7B-98E7-0C49-8229-12D7FC628C12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0:30.027" v="49"/>
          <ac:spMkLst>
            <pc:docMk/>
            <pc:sldMk cId="3968363640" sldId="2141410979"/>
            <ac:spMk id="9" creationId="{001082E8-AFE1-D2C1-E889-A443AE1C8B63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0:30.027" v="48"/>
          <ac:spMkLst>
            <pc:docMk/>
            <pc:sldMk cId="3968363640" sldId="2141410979"/>
            <ac:spMk id="10" creationId="{82BED5D5-2CB1-396C-73ED-C1D803D978F0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54:10.692" v="67"/>
          <ac:spMkLst>
            <pc:docMk/>
            <pc:sldMk cId="3968363640" sldId="2141410979"/>
            <ac:spMk id="12" creationId="{3263E8F7-FD0E-2996-E461-55E6CBE3A223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55:30.272" v="76"/>
          <ac:spMkLst>
            <pc:docMk/>
            <pc:sldMk cId="3968363640" sldId="2141410979"/>
            <ac:spMk id="15" creationId="{AC884804-0FCE-82F8-9AE1-B5F3D6E55523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55:44.632" v="79"/>
          <ac:spMkLst>
            <pc:docMk/>
            <pc:sldMk cId="3968363640" sldId="2141410979"/>
            <ac:spMk id="16" creationId="{E3FF89A5-4325-6C08-E17E-8C6FF2E0D729}"/>
          </ac:spMkLst>
        </pc:spChg>
        <pc:picChg chg="add del mod">
          <ac:chgData name="Kalva, Sai" userId="S::yte2md@darden.virginia.edu::94f23aad-c8e0-4621-8c27-d8e269f9cd91" providerId="AD" clId="Web-{5C788E2A-AD8E-4627-96B9-298BEC4B0878}" dt="2022-12-18T22:55:08.678" v="70"/>
          <ac:picMkLst>
            <pc:docMk/>
            <pc:sldMk cId="3968363640" sldId="2141410979"/>
            <ac:picMk id="13" creationId="{F01510B3-CA38-4358-17EB-E92C1C4CAA2A}"/>
          </ac:picMkLst>
        </pc:picChg>
        <pc:picChg chg="add del mod">
          <ac:chgData name="Kalva, Sai" userId="S::yte2md@darden.virginia.edu::94f23aad-c8e0-4621-8c27-d8e269f9cd91" providerId="AD" clId="Web-{5C788E2A-AD8E-4627-96B9-298BEC4B0878}" dt="2022-12-18T22:55:12.772" v="72"/>
          <ac:picMkLst>
            <pc:docMk/>
            <pc:sldMk cId="3968363640" sldId="2141410979"/>
            <ac:picMk id="14" creationId="{F32B9111-9EB5-B8DA-E40E-8CBD24836899}"/>
          </ac:picMkLst>
        </pc:picChg>
        <pc:picChg chg="add mod">
          <ac:chgData name="Kalva, Sai" userId="S::yte2md@darden.virginia.edu::94f23aad-c8e0-4621-8c27-d8e269f9cd91" providerId="AD" clId="Web-{5C788E2A-AD8E-4627-96B9-298BEC4B0878}" dt="2022-12-18T22:56:31.851" v="84" actId="1076"/>
          <ac:picMkLst>
            <pc:docMk/>
            <pc:sldMk cId="3968363640" sldId="2141410979"/>
            <ac:picMk id="17" creationId="{3A31698C-1EBD-C85D-837D-91A73BE0D9F0}"/>
          </ac:picMkLst>
        </pc:picChg>
      </pc:sldChg>
      <pc:sldChg chg="addSp delSp modSp add del replId">
        <pc:chgData name="Kalva, Sai" userId="S::yte2md@darden.virginia.edu::94f23aad-c8e0-4621-8c27-d8e269f9cd91" providerId="AD" clId="Web-{5C788E2A-AD8E-4627-96B9-298BEC4B0878}" dt="2022-12-18T22:48:29.590" v="64"/>
        <pc:sldMkLst>
          <pc:docMk/>
          <pc:sldMk cId="1814038844" sldId="2141410981"/>
        </pc:sldMkLst>
        <pc:spChg chg="del">
          <ac:chgData name="Kalva, Sai" userId="S::yte2md@darden.virginia.edu::94f23aad-c8e0-4621-8c27-d8e269f9cd91" providerId="AD" clId="Web-{5C788E2A-AD8E-4627-96B9-298BEC4B0878}" dt="2022-12-18T22:47:02.760" v="54"/>
          <ac:spMkLst>
            <pc:docMk/>
            <pc:sldMk cId="1814038844" sldId="2141410981"/>
            <ac:spMk id="4" creationId="{125414A2-31D4-5C41-15CB-76CD4A9725F7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7:06.463" v="56"/>
          <ac:spMkLst>
            <pc:docMk/>
            <pc:sldMk cId="1814038844" sldId="2141410981"/>
            <ac:spMk id="7" creationId="{388C4DCF-5515-940F-05F9-6C1E3DB24DB7}"/>
          </ac:spMkLst>
        </pc:spChg>
        <pc:spChg chg="add del mod">
          <ac:chgData name="Kalva, Sai" userId="S::yte2md@darden.virginia.edu::94f23aad-c8e0-4621-8c27-d8e269f9cd91" providerId="AD" clId="Web-{5C788E2A-AD8E-4627-96B9-298BEC4B0878}" dt="2022-12-18T22:47:32.183" v="63"/>
          <ac:spMkLst>
            <pc:docMk/>
            <pc:sldMk cId="1814038844" sldId="2141410981"/>
            <ac:spMk id="9" creationId="{FD4F5D06-44BE-42ED-7F31-5831B8FA4BB5}"/>
          </ac:spMkLst>
        </pc:spChg>
        <pc:picChg chg="add mod">
          <ac:chgData name="Kalva, Sai" userId="S::yte2md@darden.virginia.edu::94f23aad-c8e0-4621-8c27-d8e269f9cd91" providerId="AD" clId="Web-{5C788E2A-AD8E-4627-96B9-298BEC4B0878}" dt="2022-12-18T22:47:21.542" v="59" actId="14100"/>
          <ac:picMkLst>
            <pc:docMk/>
            <pc:sldMk cId="1814038844" sldId="2141410981"/>
            <ac:picMk id="8" creationId="{7B709A2F-CB5C-35A7-9CDA-5AC66D82DF1C}"/>
          </ac:picMkLst>
        </pc:picChg>
      </pc:sldChg>
    </pc:docChg>
  </pc:docChgLst>
  <pc:docChgLst>
    <pc:chgData name="Godfrey, Sean" userId="S::sg4ba@darden.virginia.edu::adb70b27-e17f-4a5f-85fc-2358ca46643b" providerId="AD" clId="Web-{063A6320-90A2-4ED4-AF7B-EBF17C4FDC15}"/>
    <pc:docChg chg="addSld delSld modSld modSection">
      <pc:chgData name="Godfrey, Sean" userId="S::sg4ba@darden.virginia.edu::adb70b27-e17f-4a5f-85fc-2358ca46643b" providerId="AD" clId="Web-{063A6320-90A2-4ED4-AF7B-EBF17C4FDC15}" dt="2022-12-18T12:42:57.063" v="629"/>
      <pc:docMkLst>
        <pc:docMk/>
      </pc:docMkLst>
      <pc:sldChg chg="modSp new del mod modShow">
        <pc:chgData name="Godfrey, Sean" userId="S::sg4ba@darden.virginia.edu::adb70b27-e17f-4a5f-85fc-2358ca46643b" providerId="AD" clId="Web-{063A6320-90A2-4ED4-AF7B-EBF17C4FDC15}" dt="2022-12-18T12:38:21.035" v="615"/>
        <pc:sldMkLst>
          <pc:docMk/>
          <pc:sldMk cId="3966870363" sldId="383"/>
        </pc:sldMkLst>
        <pc:spChg chg="mod">
          <ac:chgData name="Godfrey, Sean" userId="S::sg4ba@darden.virginia.edu::adb70b27-e17f-4a5f-85fc-2358ca46643b" providerId="AD" clId="Web-{063A6320-90A2-4ED4-AF7B-EBF17C4FDC15}" dt="2022-12-18T11:51:53.346" v="18" actId="20577"/>
          <ac:spMkLst>
            <pc:docMk/>
            <pc:sldMk cId="3966870363" sldId="383"/>
            <ac:spMk id="2" creationId="{2431AFFE-EDFB-F8F4-B988-DA343A917B9A}"/>
          </ac:spMkLst>
        </pc:spChg>
        <pc:spChg chg="mod">
          <ac:chgData name="Godfrey, Sean" userId="S::sg4ba@darden.virginia.edu::adb70b27-e17f-4a5f-85fc-2358ca46643b" providerId="AD" clId="Web-{063A6320-90A2-4ED4-AF7B-EBF17C4FDC15}" dt="2022-12-18T11:51:43.315" v="16" actId="20577"/>
          <ac:spMkLst>
            <pc:docMk/>
            <pc:sldMk cId="3966870363" sldId="383"/>
            <ac:spMk id="3" creationId="{79648D5E-14E4-5CA8-C934-DF76F361046A}"/>
          </ac:spMkLst>
        </pc:spChg>
      </pc:sldChg>
      <pc:sldChg chg="delSp modSp new">
        <pc:chgData name="Godfrey, Sean" userId="S::sg4ba@darden.virginia.edu::adb70b27-e17f-4a5f-85fc-2358ca46643b" providerId="AD" clId="Web-{063A6320-90A2-4ED4-AF7B-EBF17C4FDC15}" dt="2022-12-18T12:40:57.669" v="621"/>
        <pc:sldMkLst>
          <pc:docMk/>
          <pc:sldMk cId="1335576076" sldId="384"/>
        </pc:sldMkLst>
        <pc:spChg chg="mod">
          <ac:chgData name="Godfrey, Sean" userId="S::sg4ba@darden.virginia.edu::adb70b27-e17f-4a5f-85fc-2358ca46643b" providerId="AD" clId="Web-{063A6320-90A2-4ED4-AF7B-EBF17C4FDC15}" dt="2022-12-18T12:37:36.565" v="610" actId="20577"/>
          <ac:spMkLst>
            <pc:docMk/>
            <pc:sldMk cId="1335576076" sldId="384"/>
            <ac:spMk id="2" creationId="{0F089093-D801-0139-FB7E-65D72CF72D5D}"/>
          </ac:spMkLst>
        </pc:spChg>
        <pc:spChg chg="mod">
          <ac:chgData name="Godfrey, Sean" userId="S::sg4ba@darden.virginia.edu::adb70b27-e17f-4a5f-85fc-2358ca46643b" providerId="AD" clId="Web-{063A6320-90A2-4ED4-AF7B-EBF17C4FDC15}" dt="2022-12-18T11:52:42.567" v="33" actId="20577"/>
          <ac:spMkLst>
            <pc:docMk/>
            <pc:sldMk cId="1335576076" sldId="384"/>
            <ac:spMk id="3" creationId="{659E79E2-A8AE-EDFF-155E-6024FA803DF4}"/>
          </ac:spMkLst>
        </pc:spChg>
        <pc:spChg chg="del">
          <ac:chgData name="Godfrey, Sean" userId="S::sg4ba@darden.virginia.edu::adb70b27-e17f-4a5f-85fc-2358ca46643b" providerId="AD" clId="Web-{063A6320-90A2-4ED4-AF7B-EBF17C4FDC15}" dt="2022-12-18T12:40:57.669" v="621"/>
          <ac:spMkLst>
            <pc:docMk/>
            <pc:sldMk cId="1335576076" sldId="384"/>
            <ac:spMk id="4" creationId="{217E1CCC-3E5B-878B-18B9-747BFC2E6942}"/>
          </ac:spMkLst>
        </pc:spChg>
        <pc:spChg chg="del">
          <ac:chgData name="Godfrey, Sean" userId="S::sg4ba@darden.virginia.edu::adb70b27-e17f-4a5f-85fc-2358ca46643b" providerId="AD" clId="Web-{063A6320-90A2-4ED4-AF7B-EBF17C4FDC15}" dt="2022-12-18T12:22:01.716" v="367"/>
          <ac:spMkLst>
            <pc:docMk/>
            <pc:sldMk cId="1335576076" sldId="384"/>
            <ac:spMk id="5" creationId="{FF430E5B-E970-F02C-2450-9692A7B7CC44}"/>
          </ac:spMkLst>
        </pc:spChg>
      </pc:sldChg>
      <pc:sldChg chg="modSp new del">
        <pc:chgData name="Godfrey, Sean" userId="S::sg4ba@darden.virginia.edu::adb70b27-e17f-4a5f-85fc-2358ca46643b" providerId="AD" clId="Web-{063A6320-90A2-4ED4-AF7B-EBF17C4FDC15}" dt="2022-12-18T12:21:46.449" v="366"/>
        <pc:sldMkLst>
          <pc:docMk/>
          <pc:sldMk cId="4287583650" sldId="385"/>
        </pc:sldMkLst>
        <pc:spChg chg="mod">
          <ac:chgData name="Godfrey, Sean" userId="S::sg4ba@darden.virginia.edu::adb70b27-e17f-4a5f-85fc-2358ca46643b" providerId="AD" clId="Web-{063A6320-90A2-4ED4-AF7B-EBF17C4FDC15}" dt="2022-12-18T11:57:14.484" v="129" actId="20577"/>
          <ac:spMkLst>
            <pc:docMk/>
            <pc:sldMk cId="4287583650" sldId="385"/>
            <ac:spMk id="3" creationId="{5C68FE0E-4FE0-CBDF-2EC6-F02F8A791048}"/>
          </ac:spMkLst>
        </pc:spChg>
      </pc:sldChg>
      <pc:sldChg chg="addSp delSp modSp new">
        <pc:chgData name="Godfrey, Sean" userId="S::sg4ba@darden.virginia.edu::adb70b27-e17f-4a5f-85fc-2358ca46643b" providerId="AD" clId="Web-{063A6320-90A2-4ED4-AF7B-EBF17C4FDC15}" dt="2022-12-18T12:16:12.855" v="306" actId="1076"/>
        <pc:sldMkLst>
          <pc:docMk/>
          <pc:sldMk cId="2650861593" sldId="386"/>
        </pc:sldMkLst>
        <pc:spChg chg="del mod">
          <ac:chgData name="Godfrey, Sean" userId="S::sg4ba@darden.virginia.edu::adb70b27-e17f-4a5f-85fc-2358ca46643b" providerId="AD" clId="Web-{063A6320-90A2-4ED4-AF7B-EBF17C4FDC15}" dt="2022-12-18T12:13:10.439" v="284"/>
          <ac:spMkLst>
            <pc:docMk/>
            <pc:sldMk cId="2650861593" sldId="386"/>
            <ac:spMk id="2" creationId="{563A853F-4C6D-D836-488D-F50B5559E57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15:47.792" v="304" actId="1076"/>
          <ac:spMkLst>
            <pc:docMk/>
            <pc:sldMk cId="2650861593" sldId="386"/>
            <ac:spMk id="3" creationId="{D546559E-9618-3017-9939-4F350D76E331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07:01.458" v="228" actId="1076"/>
          <ac:spMkLst>
            <pc:docMk/>
            <pc:sldMk cId="2650861593" sldId="386"/>
            <ac:spMk id="4" creationId="{FE9FC4B6-7783-03B5-36FD-2E4F8547B79F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07:03.958" v="229" actId="1076"/>
          <ac:spMkLst>
            <pc:docMk/>
            <pc:sldMk cId="2650861593" sldId="386"/>
            <ac:spMk id="5" creationId="{A7E9A84A-D215-AFD6-486B-E07F63D29D77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07:15.083" v="232" actId="1076"/>
          <ac:spMkLst>
            <pc:docMk/>
            <pc:sldMk cId="2650861593" sldId="386"/>
            <ac:spMk id="6" creationId="{71DAA094-C32D-0F09-B5EC-620A981ADD7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07:25.208" v="233" actId="1076"/>
          <ac:spMkLst>
            <pc:docMk/>
            <pc:sldMk cId="2650861593" sldId="386"/>
            <ac:spMk id="7" creationId="{39FEDD96-D382-FC7C-B19B-E6ACC2F8A45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07:57.522" v="256" actId="20577"/>
          <ac:spMkLst>
            <pc:docMk/>
            <pc:sldMk cId="2650861593" sldId="386"/>
            <ac:spMk id="8" creationId="{D0D7F331-4F63-28FB-0D39-922F1160722D}"/>
          </ac:spMkLst>
        </pc:spChg>
        <pc:spChg chg="del">
          <ac:chgData name="Godfrey, Sean" userId="S::sg4ba@darden.virginia.edu::adb70b27-e17f-4a5f-85fc-2358ca46643b" providerId="AD" clId="Web-{063A6320-90A2-4ED4-AF7B-EBF17C4FDC15}" dt="2022-12-18T12:08:13.413" v="257"/>
          <ac:spMkLst>
            <pc:docMk/>
            <pc:sldMk cId="2650861593" sldId="386"/>
            <ac:spMk id="9" creationId="{DC6F8ADC-71E2-9FE2-FC41-439195568FD7}"/>
          </ac:spMkLst>
        </pc:spChg>
        <pc:spChg chg="del mod">
          <ac:chgData name="Godfrey, Sean" userId="S::sg4ba@darden.virginia.edu::adb70b27-e17f-4a5f-85fc-2358ca46643b" providerId="AD" clId="Web-{063A6320-90A2-4ED4-AF7B-EBF17C4FDC15}" dt="2022-12-18T12:07:09.270" v="231"/>
          <ac:spMkLst>
            <pc:docMk/>
            <pc:sldMk cId="2650861593" sldId="386"/>
            <ac:spMk id="10" creationId="{FCED8EAD-305A-B5F4-7A0D-5BC48B588CF4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04.581" v="140"/>
          <ac:spMkLst>
            <pc:docMk/>
            <pc:sldMk cId="2650861593" sldId="386"/>
            <ac:spMk id="11" creationId="{F5DDC019-3CC6-2679-A3EC-ECF6C0D6A075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8:57.847" v="137"/>
          <ac:spMkLst>
            <pc:docMk/>
            <pc:sldMk cId="2650861593" sldId="386"/>
            <ac:spMk id="12" creationId="{1FA035A1-58B4-F205-9237-7072AFBFE8D2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12.347" v="148"/>
          <ac:spMkLst>
            <pc:docMk/>
            <pc:sldMk cId="2650861593" sldId="386"/>
            <ac:spMk id="13" creationId="{70E31CC6-E0FB-AC58-3A49-BE7DECE3BABB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08.831" v="144"/>
          <ac:spMkLst>
            <pc:docMk/>
            <pc:sldMk cId="2650861593" sldId="386"/>
            <ac:spMk id="14" creationId="{3C9FC760-F9B2-FE85-CE25-C3E42C24D125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12.347" v="147"/>
          <ac:spMkLst>
            <pc:docMk/>
            <pc:sldMk cId="2650861593" sldId="386"/>
            <ac:spMk id="15" creationId="{5B9B0748-9514-E59C-922F-4AD9E6B0F18E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08.831" v="143"/>
          <ac:spMkLst>
            <pc:docMk/>
            <pc:sldMk cId="2650861593" sldId="386"/>
            <ac:spMk id="16" creationId="{1EE9DF3B-211F-DFB1-FF7F-9DC758F8CF89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8:59.972" v="138"/>
          <ac:spMkLst>
            <pc:docMk/>
            <pc:sldMk cId="2650861593" sldId="386"/>
            <ac:spMk id="17" creationId="{ECA54E42-359D-CCAA-16F8-58CBFB2E93B2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08.831" v="142"/>
          <ac:spMkLst>
            <pc:docMk/>
            <pc:sldMk cId="2650861593" sldId="386"/>
            <ac:spMk id="18" creationId="{BFD887B8-E326-A778-B00E-CDA5F6FA3932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08.831" v="141"/>
          <ac:spMkLst>
            <pc:docMk/>
            <pc:sldMk cId="2650861593" sldId="386"/>
            <ac:spMk id="19" creationId="{1CD9833F-03BF-4593-8AE6-02BA2C44F076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02.065" v="139"/>
          <ac:spMkLst>
            <pc:docMk/>
            <pc:sldMk cId="2650861593" sldId="386"/>
            <ac:spMk id="20" creationId="{4C420352-2DDA-242B-182D-4EC7C3BFCF9B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12.347" v="146"/>
          <ac:spMkLst>
            <pc:docMk/>
            <pc:sldMk cId="2650861593" sldId="386"/>
            <ac:spMk id="21" creationId="{08366629-5A1E-B60A-86E7-B4483C929CBE}"/>
          </ac:spMkLst>
        </pc:spChg>
        <pc:spChg chg="del">
          <ac:chgData name="Godfrey, Sean" userId="S::sg4ba@darden.virginia.edu::adb70b27-e17f-4a5f-85fc-2358ca46643b" providerId="AD" clId="Web-{063A6320-90A2-4ED4-AF7B-EBF17C4FDC15}" dt="2022-12-18T11:59:12.347" v="145"/>
          <ac:spMkLst>
            <pc:docMk/>
            <pc:sldMk cId="2650861593" sldId="386"/>
            <ac:spMk id="22" creationId="{AB0E3C20-04DE-4F2C-AA01-11E9E46FE1F1}"/>
          </ac:spMkLst>
        </pc:spChg>
        <pc:spChg chg="add mod">
          <ac:chgData name="Godfrey, Sean" userId="S::sg4ba@darden.virginia.edu::adb70b27-e17f-4a5f-85fc-2358ca46643b" providerId="AD" clId="Web-{063A6320-90A2-4ED4-AF7B-EBF17C4FDC15}" dt="2022-12-18T12:13:06.298" v="283"/>
          <ac:spMkLst>
            <pc:docMk/>
            <pc:sldMk cId="2650861593" sldId="386"/>
            <ac:spMk id="31" creationId="{A0C4CD8F-6ECC-3686-5367-A5CEE9C0EC65}"/>
          </ac:spMkLst>
        </pc:spChg>
        <pc:spChg chg="add del mod">
          <ac:chgData name="Godfrey, Sean" userId="S::sg4ba@darden.virginia.edu::adb70b27-e17f-4a5f-85fc-2358ca46643b" providerId="AD" clId="Web-{063A6320-90A2-4ED4-AF7B-EBF17C4FDC15}" dt="2022-12-18T12:13:13.767" v="285"/>
          <ac:spMkLst>
            <pc:docMk/>
            <pc:sldMk cId="2650861593" sldId="386"/>
            <ac:spMk id="33" creationId="{4B885C0D-D457-63BC-DD7B-56920DB1B8B4}"/>
          </ac:spMkLst>
        </pc:spChg>
        <pc:picChg chg="add del mod">
          <ac:chgData name="Godfrey, Sean" userId="S::sg4ba@darden.virginia.edu::adb70b27-e17f-4a5f-85fc-2358ca46643b" providerId="AD" clId="Web-{063A6320-90A2-4ED4-AF7B-EBF17C4FDC15}" dt="2022-12-18T12:09:37.056" v="265"/>
          <ac:picMkLst>
            <pc:docMk/>
            <pc:sldMk cId="2650861593" sldId="386"/>
            <ac:picMk id="23" creationId="{31CEBDB4-AF53-1545-9DEB-0A746BFA29C6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2:48.422" v="282" actId="1076"/>
          <ac:picMkLst>
            <pc:docMk/>
            <pc:sldMk cId="2650861593" sldId="386"/>
            <ac:picMk id="24" creationId="{62B7F6EE-0D64-4978-DD95-92E3DE8CAF70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6:07.996" v="305" actId="1076"/>
          <ac:picMkLst>
            <pc:docMk/>
            <pc:sldMk cId="2650861593" sldId="386"/>
            <ac:picMk id="25" creationId="{57648CE6-1074-2973-193A-B07C2EA12AAB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09:57.807" v="269" actId="1076"/>
          <ac:picMkLst>
            <pc:docMk/>
            <pc:sldMk cId="2650861593" sldId="386"/>
            <ac:picMk id="26" creationId="{B29F7D98-CD54-B72B-7CF3-8F6ABAA5662F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0:13.542" v="271" actId="1076"/>
          <ac:picMkLst>
            <pc:docMk/>
            <pc:sldMk cId="2650861593" sldId="386"/>
            <ac:picMk id="27" creationId="{0733F529-CD01-7842-9DAC-60B7A1E7636E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0:30.980" v="273" actId="1076"/>
          <ac:picMkLst>
            <pc:docMk/>
            <pc:sldMk cId="2650861593" sldId="386"/>
            <ac:picMk id="28" creationId="{9F3D77EA-4C87-1113-C134-A620325A80C6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0:45.918" v="275" actId="1076"/>
          <ac:picMkLst>
            <pc:docMk/>
            <pc:sldMk cId="2650861593" sldId="386"/>
            <ac:picMk id="29" creationId="{8A740D18-04E2-1FEC-1B0D-EF6A3F50325C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5:06.837" v="295" actId="1076"/>
          <ac:picMkLst>
            <pc:docMk/>
            <pc:sldMk cId="2650861593" sldId="386"/>
            <ac:picMk id="34" creationId="{8CF0719A-68DE-0002-19B8-7FBF71541714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6:12.855" v="306" actId="1076"/>
          <ac:picMkLst>
            <pc:docMk/>
            <pc:sldMk cId="2650861593" sldId="386"/>
            <ac:picMk id="35" creationId="{A42D4E61-B7B4-B3B2-C808-EDA6ACC2CA3F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5:16.135" v="297" actId="1076"/>
          <ac:picMkLst>
            <pc:docMk/>
            <pc:sldMk cId="2650861593" sldId="386"/>
            <ac:picMk id="36" creationId="{35FD8336-0C85-578B-6FB8-FC9304CF4A49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5:24.635" v="299" actId="1076"/>
          <ac:picMkLst>
            <pc:docMk/>
            <pc:sldMk cId="2650861593" sldId="386"/>
            <ac:picMk id="37" creationId="{049F86D9-412C-9E2A-752C-36E977A47827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5:30.104" v="301" actId="1076"/>
          <ac:picMkLst>
            <pc:docMk/>
            <pc:sldMk cId="2650861593" sldId="386"/>
            <ac:picMk id="38" creationId="{537E25D6-5F2F-FF97-60C2-29DC7362CE36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15:33.963" v="303" actId="1076"/>
          <ac:picMkLst>
            <pc:docMk/>
            <pc:sldMk cId="2650861593" sldId="386"/>
            <ac:picMk id="39" creationId="{3D6C9D59-F166-22B0-214A-681C9C5D6F68}"/>
          </ac:picMkLst>
        </pc:picChg>
      </pc:sldChg>
      <pc:sldChg chg="new del">
        <pc:chgData name="Godfrey, Sean" userId="S::sg4ba@darden.virginia.edu::adb70b27-e17f-4a5f-85fc-2358ca46643b" providerId="AD" clId="Web-{063A6320-90A2-4ED4-AF7B-EBF17C4FDC15}" dt="2022-12-18T12:16:40.825" v="309"/>
        <pc:sldMkLst>
          <pc:docMk/>
          <pc:sldMk cId="453228318" sldId="387"/>
        </pc:sldMkLst>
      </pc:sldChg>
      <pc:sldChg chg="addSp delSp modSp add replId">
        <pc:chgData name="Godfrey, Sean" userId="S::sg4ba@darden.virginia.edu::adb70b27-e17f-4a5f-85fc-2358ca46643b" providerId="AD" clId="Web-{063A6320-90A2-4ED4-AF7B-EBF17C4FDC15}" dt="2022-12-18T12:42:57.063" v="629"/>
        <pc:sldMkLst>
          <pc:docMk/>
          <pc:sldMk cId="2383823832" sldId="388"/>
        </pc:sldMkLst>
        <pc:spChg chg="mod">
          <ac:chgData name="Godfrey, Sean" userId="S::sg4ba@darden.virginia.edu::adb70b27-e17f-4a5f-85fc-2358ca46643b" providerId="AD" clId="Web-{063A6320-90A2-4ED4-AF7B-EBF17C4FDC15}" dt="2022-12-18T12:17:42.045" v="329" actId="1076"/>
          <ac:spMkLst>
            <pc:docMk/>
            <pc:sldMk cId="2383823832" sldId="388"/>
            <ac:spMk id="3" creationId="{D546559E-9618-3017-9939-4F350D76E331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17:39.420" v="328" actId="1076"/>
          <ac:spMkLst>
            <pc:docMk/>
            <pc:sldMk cId="2383823832" sldId="388"/>
            <ac:spMk id="4" creationId="{FE9FC4B6-7783-03B5-36FD-2E4F8547B79F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18:05.265" v="333" actId="1076"/>
          <ac:spMkLst>
            <pc:docMk/>
            <pc:sldMk cId="2383823832" sldId="388"/>
            <ac:spMk id="5" creationId="{A7E9A84A-D215-AFD6-486B-E07F63D29D77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18:09.859" v="334" actId="1076"/>
          <ac:spMkLst>
            <pc:docMk/>
            <pc:sldMk cId="2383823832" sldId="388"/>
            <ac:spMk id="6" creationId="{71DAA094-C32D-0F09-B5EC-620A981ADD7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18:19.218" v="335" actId="1076"/>
          <ac:spMkLst>
            <pc:docMk/>
            <pc:sldMk cId="2383823832" sldId="388"/>
            <ac:spMk id="7" creationId="{39FEDD96-D382-FC7C-B19B-E6ACC2F8A45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41:38.123" v="622" actId="20577"/>
          <ac:spMkLst>
            <pc:docMk/>
            <pc:sldMk cId="2383823832" sldId="388"/>
            <ac:spMk id="8" creationId="{D0D7F331-4F63-28FB-0D39-922F1160722D}"/>
          </ac:spMkLst>
        </pc:spChg>
        <pc:spChg chg="add mod">
          <ac:chgData name="Godfrey, Sean" userId="S::sg4ba@darden.virginia.edu::adb70b27-e17f-4a5f-85fc-2358ca46643b" providerId="AD" clId="Web-{063A6320-90A2-4ED4-AF7B-EBF17C4FDC15}" dt="2022-12-18T12:42:57.063" v="629"/>
          <ac:spMkLst>
            <pc:docMk/>
            <pc:sldMk cId="2383823832" sldId="388"/>
            <ac:spMk id="11" creationId="{9FAEFAE5-E3F6-2665-7BDA-F73350F21F85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21:19.464" v="361" actId="20577"/>
          <ac:spMkLst>
            <pc:docMk/>
            <pc:sldMk cId="2383823832" sldId="388"/>
            <ac:spMk id="31" creationId="{A0C4CD8F-6ECC-3686-5367-A5CEE9C0EC65}"/>
          </ac:spMkLst>
        </pc:spChg>
        <pc:picChg chg="add mod">
          <ac:chgData name="Godfrey, Sean" userId="S::sg4ba@darden.virginia.edu::adb70b27-e17f-4a5f-85fc-2358ca46643b" providerId="AD" clId="Web-{063A6320-90A2-4ED4-AF7B-EBF17C4FDC15}" dt="2022-12-18T12:21:23.652" v="363" actId="1076"/>
          <ac:picMkLst>
            <pc:docMk/>
            <pc:sldMk cId="2383823832" sldId="388"/>
            <ac:picMk id="2" creationId="{5AFF903F-0D70-1149-23CA-BC572EBF1D2A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21:34.840" v="365" actId="1076"/>
          <ac:picMkLst>
            <pc:docMk/>
            <pc:sldMk cId="2383823832" sldId="388"/>
            <ac:picMk id="10" creationId="{1A0E2304-C353-3495-447F-EF729A89B6E2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7:05.310" v="318"/>
          <ac:picMkLst>
            <pc:docMk/>
            <pc:sldMk cId="2383823832" sldId="388"/>
            <ac:picMk id="24" creationId="{62B7F6EE-0D64-4978-DD95-92E3DE8CAF70}"/>
          </ac:picMkLst>
        </pc:picChg>
        <pc:picChg chg="mod">
          <ac:chgData name="Godfrey, Sean" userId="S::sg4ba@darden.virginia.edu::adb70b27-e17f-4a5f-85fc-2358ca46643b" providerId="AD" clId="Web-{063A6320-90A2-4ED4-AF7B-EBF17C4FDC15}" dt="2022-12-18T12:18:23.328" v="336" actId="1076"/>
          <ac:picMkLst>
            <pc:docMk/>
            <pc:sldMk cId="2383823832" sldId="388"/>
            <ac:picMk id="25" creationId="{57648CE6-1074-2973-193A-B07C2EA12AAB}"/>
          </ac:picMkLst>
        </pc:picChg>
        <pc:picChg chg="mod">
          <ac:chgData name="Godfrey, Sean" userId="S::sg4ba@darden.virginia.edu::adb70b27-e17f-4a5f-85fc-2358ca46643b" providerId="AD" clId="Web-{063A6320-90A2-4ED4-AF7B-EBF17C4FDC15}" dt="2022-12-18T12:18:26.312" v="337" actId="1076"/>
          <ac:picMkLst>
            <pc:docMk/>
            <pc:sldMk cId="2383823832" sldId="388"/>
            <ac:picMk id="26" creationId="{B29F7D98-CD54-B72B-7CF3-8F6ABAA5662F}"/>
          </ac:picMkLst>
        </pc:picChg>
        <pc:picChg chg="mod">
          <ac:chgData name="Godfrey, Sean" userId="S::sg4ba@darden.virginia.edu::adb70b27-e17f-4a5f-85fc-2358ca46643b" providerId="AD" clId="Web-{063A6320-90A2-4ED4-AF7B-EBF17C4FDC15}" dt="2022-12-18T12:18:32.156" v="338" actId="1076"/>
          <ac:picMkLst>
            <pc:docMk/>
            <pc:sldMk cId="2383823832" sldId="388"/>
            <ac:picMk id="27" creationId="{0733F529-CD01-7842-9DAC-60B7A1E7636E}"/>
          </ac:picMkLst>
        </pc:picChg>
        <pc:picChg chg="mod">
          <ac:chgData name="Godfrey, Sean" userId="S::sg4ba@darden.virginia.edu::adb70b27-e17f-4a5f-85fc-2358ca46643b" providerId="AD" clId="Web-{063A6320-90A2-4ED4-AF7B-EBF17C4FDC15}" dt="2022-12-18T12:18:46.626" v="341" actId="1076"/>
          <ac:picMkLst>
            <pc:docMk/>
            <pc:sldMk cId="2383823832" sldId="388"/>
            <ac:picMk id="28" creationId="{9F3D77EA-4C87-1113-C134-A620325A80C6}"/>
          </ac:picMkLst>
        </pc:picChg>
        <pc:picChg chg="mod">
          <ac:chgData name="Godfrey, Sean" userId="S::sg4ba@darden.virginia.edu::adb70b27-e17f-4a5f-85fc-2358ca46643b" providerId="AD" clId="Web-{063A6320-90A2-4ED4-AF7B-EBF17C4FDC15}" dt="2022-12-18T12:18:54.548" v="343" actId="1076"/>
          <ac:picMkLst>
            <pc:docMk/>
            <pc:sldMk cId="2383823832" sldId="388"/>
            <ac:picMk id="29" creationId="{8A740D18-04E2-1FEC-1B0D-EF6A3F50325C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8:59.853" v="348"/>
          <ac:picMkLst>
            <pc:docMk/>
            <pc:sldMk cId="2383823832" sldId="388"/>
            <ac:picMk id="34" creationId="{8CF0719A-68DE-0002-19B8-7FBF71541714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7:09.841" v="320"/>
          <ac:picMkLst>
            <pc:docMk/>
            <pc:sldMk cId="2383823832" sldId="388"/>
            <ac:picMk id="35" creationId="{A42D4E61-B7B4-B3B2-C808-EDA6ACC2CA3F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8:59.853" v="347"/>
          <ac:picMkLst>
            <pc:docMk/>
            <pc:sldMk cId="2383823832" sldId="388"/>
            <ac:picMk id="36" creationId="{35FD8336-0C85-578B-6FB8-FC9304CF4A49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8:59.853" v="346"/>
          <ac:picMkLst>
            <pc:docMk/>
            <pc:sldMk cId="2383823832" sldId="388"/>
            <ac:picMk id="37" creationId="{049F86D9-412C-9E2A-752C-36E977A47827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8:59.853" v="345"/>
          <ac:picMkLst>
            <pc:docMk/>
            <pc:sldMk cId="2383823832" sldId="388"/>
            <ac:picMk id="38" creationId="{537E25D6-5F2F-FF97-60C2-29DC7362CE36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18:59.853" v="344"/>
          <ac:picMkLst>
            <pc:docMk/>
            <pc:sldMk cId="2383823832" sldId="388"/>
            <ac:picMk id="39" creationId="{3D6C9D59-F166-22B0-214A-681C9C5D6F68}"/>
          </ac:picMkLst>
        </pc:picChg>
      </pc:sldChg>
      <pc:sldChg chg="addSp delSp modSp add replId">
        <pc:chgData name="Godfrey, Sean" userId="S::sg4ba@darden.virginia.edu::adb70b27-e17f-4a5f-85fc-2358ca46643b" providerId="AD" clId="Web-{063A6320-90A2-4ED4-AF7B-EBF17C4FDC15}" dt="2022-12-18T12:39:31.943" v="620" actId="20577"/>
        <pc:sldMkLst>
          <pc:docMk/>
          <pc:sldMk cId="126228256" sldId="389"/>
        </pc:sldMkLst>
        <pc:spChg chg="mod">
          <ac:chgData name="Godfrey, Sean" userId="S::sg4ba@darden.virginia.edu::adb70b27-e17f-4a5f-85fc-2358ca46643b" providerId="AD" clId="Web-{063A6320-90A2-4ED4-AF7B-EBF17C4FDC15}" dt="2022-12-18T12:29:30.683" v="392" actId="1076"/>
          <ac:spMkLst>
            <pc:docMk/>
            <pc:sldMk cId="126228256" sldId="389"/>
            <ac:spMk id="3" creationId="{D546559E-9618-3017-9939-4F350D76E331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29:46.465" v="397" actId="1076"/>
          <ac:spMkLst>
            <pc:docMk/>
            <pc:sldMk cId="126228256" sldId="389"/>
            <ac:spMk id="4" creationId="{FE9FC4B6-7783-03B5-36FD-2E4F8547B79F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28:46.588" v="381" actId="1076"/>
          <ac:spMkLst>
            <pc:docMk/>
            <pc:sldMk cId="126228256" sldId="389"/>
            <ac:spMk id="5" creationId="{A7E9A84A-D215-AFD6-486B-E07F63D29D77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29:51.512" v="398" actId="1076"/>
          <ac:spMkLst>
            <pc:docMk/>
            <pc:sldMk cId="126228256" sldId="389"/>
            <ac:spMk id="6" creationId="{71DAA094-C32D-0F09-B5EC-620A981ADD7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29:55.965" v="399" actId="1076"/>
          <ac:spMkLst>
            <pc:docMk/>
            <pc:sldMk cId="126228256" sldId="389"/>
            <ac:spMk id="7" creationId="{39FEDD96-D382-FC7C-B19B-E6ACC2F8A458}"/>
          </ac:spMkLst>
        </pc:spChg>
        <pc:spChg chg="mod">
          <ac:chgData name="Godfrey, Sean" userId="S::sg4ba@darden.virginia.edu::adb70b27-e17f-4a5f-85fc-2358ca46643b" providerId="AD" clId="Web-{063A6320-90A2-4ED4-AF7B-EBF17C4FDC15}" dt="2022-12-18T12:38:02.581" v="614" actId="20577"/>
          <ac:spMkLst>
            <pc:docMk/>
            <pc:sldMk cId="126228256" sldId="389"/>
            <ac:spMk id="8" creationId="{D0D7F331-4F63-28FB-0D39-922F1160722D}"/>
          </ac:spMkLst>
        </pc:spChg>
        <pc:spChg chg="add mod">
          <ac:chgData name="Godfrey, Sean" userId="S::sg4ba@darden.virginia.edu::adb70b27-e17f-4a5f-85fc-2358ca46643b" providerId="AD" clId="Web-{063A6320-90A2-4ED4-AF7B-EBF17C4FDC15}" dt="2022-12-18T12:39:31.943" v="620" actId="20577"/>
          <ac:spMkLst>
            <pc:docMk/>
            <pc:sldMk cId="126228256" sldId="389"/>
            <ac:spMk id="18" creationId="{9353CE0D-65E3-2A68-A487-39087D3CC5F0}"/>
          </ac:spMkLst>
        </pc:spChg>
        <pc:spChg chg="del mod">
          <ac:chgData name="Godfrey, Sean" userId="S::sg4ba@darden.virginia.edu::adb70b27-e17f-4a5f-85fc-2358ca46643b" providerId="AD" clId="Web-{063A6320-90A2-4ED4-AF7B-EBF17C4FDC15}" dt="2022-12-18T12:36:26.422" v="564"/>
          <ac:spMkLst>
            <pc:docMk/>
            <pc:sldMk cId="126228256" sldId="389"/>
            <ac:spMk id="31" creationId="{A0C4CD8F-6ECC-3686-5367-A5CEE9C0EC65}"/>
          </ac:spMkLst>
        </pc:spChg>
        <pc:graphicFrameChg chg="add del mod">
          <ac:chgData name="Godfrey, Sean" userId="S::sg4ba@darden.virginia.edu::adb70b27-e17f-4a5f-85fc-2358ca46643b" providerId="AD" clId="Web-{063A6320-90A2-4ED4-AF7B-EBF17C4FDC15}" dt="2022-12-18T12:32:10.177" v="403"/>
          <ac:graphicFrameMkLst>
            <pc:docMk/>
            <pc:sldMk cId="126228256" sldId="389"/>
            <ac:graphicFrameMk id="9" creationId="{4EBB1158-CEA4-13A6-9DD7-518894E9D0E7}"/>
          </ac:graphicFrameMkLst>
        </pc:graphicFrameChg>
        <pc:graphicFrameChg chg="add del mod">
          <ac:chgData name="Godfrey, Sean" userId="S::sg4ba@darden.virginia.edu::adb70b27-e17f-4a5f-85fc-2358ca46643b" providerId="AD" clId="Web-{063A6320-90A2-4ED4-AF7B-EBF17C4FDC15}" dt="2022-12-18T12:32:10.865" v="404"/>
          <ac:graphicFrameMkLst>
            <pc:docMk/>
            <pc:sldMk cId="126228256" sldId="389"/>
            <ac:graphicFrameMk id="11" creationId="{A660F1BA-80AC-220B-3EB2-E505EF0DD5DB}"/>
          </ac:graphicFrameMkLst>
        </pc:graphicFrameChg>
        <pc:graphicFrameChg chg="add del mod">
          <ac:chgData name="Godfrey, Sean" userId="S::sg4ba@darden.virginia.edu::adb70b27-e17f-4a5f-85fc-2358ca46643b" providerId="AD" clId="Web-{063A6320-90A2-4ED4-AF7B-EBF17C4FDC15}" dt="2022-12-18T12:32:49.632" v="410"/>
          <ac:graphicFrameMkLst>
            <pc:docMk/>
            <pc:sldMk cId="126228256" sldId="389"/>
            <ac:graphicFrameMk id="14" creationId="{55C6C7F5-B8F1-E82E-2967-350169536FB5}"/>
          </ac:graphicFrameMkLst>
        </pc:graphicFrameChg>
        <pc:picChg chg="add mod">
          <ac:chgData name="Godfrey, Sean" userId="S::sg4ba@darden.virginia.edu::adb70b27-e17f-4a5f-85fc-2358ca46643b" providerId="AD" clId="Web-{063A6320-90A2-4ED4-AF7B-EBF17C4FDC15}" dt="2022-12-18T12:32:31.444" v="408" actId="1076"/>
          <ac:picMkLst>
            <pc:docMk/>
            <pc:sldMk cId="126228256" sldId="389"/>
            <ac:picMk id="12" creationId="{61ADDF77-37E8-7543-D767-981832C6E900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33:04.023" v="414" actId="1076"/>
          <ac:picMkLst>
            <pc:docMk/>
            <pc:sldMk cId="126228256" sldId="389"/>
            <ac:picMk id="15" creationId="{50E7F747-74A1-F165-EC00-6235A34CB683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33:30.571" v="418" actId="1076"/>
          <ac:picMkLst>
            <pc:docMk/>
            <pc:sldMk cId="126228256" sldId="389"/>
            <ac:picMk id="16" creationId="{0B3188FB-8CD4-537E-5602-65D25B361FF0}"/>
          </ac:picMkLst>
        </pc:picChg>
        <pc:picChg chg="add mod">
          <ac:chgData name="Godfrey, Sean" userId="S::sg4ba@darden.virginia.edu::adb70b27-e17f-4a5f-85fc-2358ca46643b" providerId="AD" clId="Web-{063A6320-90A2-4ED4-AF7B-EBF17C4FDC15}" dt="2022-12-18T12:34:05.431" v="422" actId="1076"/>
          <ac:picMkLst>
            <pc:docMk/>
            <pc:sldMk cId="126228256" sldId="389"/>
            <ac:picMk id="17" creationId="{9EDB297C-4CDB-0905-6279-70FDBE4E1B56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2.493" v="369"/>
          <ac:picMkLst>
            <pc:docMk/>
            <pc:sldMk cId="126228256" sldId="389"/>
            <ac:picMk id="24" creationId="{62B7F6EE-0D64-4978-DD95-92E3DE8CAF70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4.322" v="372"/>
          <ac:picMkLst>
            <pc:docMk/>
            <pc:sldMk cId="126228256" sldId="389"/>
            <ac:picMk id="25" creationId="{57648CE6-1074-2973-193A-B07C2EA12AAB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5.431" v="374"/>
          <ac:picMkLst>
            <pc:docMk/>
            <pc:sldMk cId="126228256" sldId="389"/>
            <ac:picMk id="26" creationId="{B29F7D98-CD54-B72B-7CF3-8F6ABAA5662F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6.759" v="376"/>
          <ac:picMkLst>
            <pc:docMk/>
            <pc:sldMk cId="126228256" sldId="389"/>
            <ac:picMk id="27" creationId="{0733F529-CD01-7842-9DAC-60B7A1E7636E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8.103" v="378"/>
          <ac:picMkLst>
            <pc:docMk/>
            <pc:sldMk cId="126228256" sldId="389"/>
            <ac:picMk id="28" creationId="{9F3D77EA-4C87-1113-C134-A620325A80C6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9.666" v="380"/>
          <ac:picMkLst>
            <pc:docMk/>
            <pc:sldMk cId="126228256" sldId="389"/>
            <ac:picMk id="29" creationId="{8A740D18-04E2-1FEC-1B0D-EF6A3F50325C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3.837" v="371"/>
          <ac:picMkLst>
            <pc:docMk/>
            <pc:sldMk cId="126228256" sldId="389"/>
            <ac:picMk id="34" creationId="{8CF0719A-68DE-0002-19B8-7FBF71541714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3.259" v="370"/>
          <ac:picMkLst>
            <pc:docMk/>
            <pc:sldMk cId="126228256" sldId="389"/>
            <ac:picMk id="35" creationId="{A42D4E61-B7B4-B3B2-C808-EDA6ACC2CA3F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4.853" v="373"/>
          <ac:picMkLst>
            <pc:docMk/>
            <pc:sldMk cId="126228256" sldId="389"/>
            <ac:picMk id="36" creationId="{35FD8336-0C85-578B-6FB8-FC9304CF4A49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6.244" v="375"/>
          <ac:picMkLst>
            <pc:docMk/>
            <pc:sldMk cId="126228256" sldId="389"/>
            <ac:picMk id="37" creationId="{049F86D9-412C-9E2A-752C-36E977A47827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7.572" v="377"/>
          <ac:picMkLst>
            <pc:docMk/>
            <pc:sldMk cId="126228256" sldId="389"/>
            <ac:picMk id="38" creationId="{537E25D6-5F2F-FF97-60C2-29DC7362CE36}"/>
          </ac:picMkLst>
        </pc:picChg>
        <pc:picChg chg="del">
          <ac:chgData name="Godfrey, Sean" userId="S::sg4ba@darden.virginia.edu::adb70b27-e17f-4a5f-85fc-2358ca46643b" providerId="AD" clId="Web-{063A6320-90A2-4ED4-AF7B-EBF17C4FDC15}" dt="2022-12-18T12:28:39.072" v="379"/>
          <ac:picMkLst>
            <pc:docMk/>
            <pc:sldMk cId="126228256" sldId="389"/>
            <ac:picMk id="39" creationId="{3D6C9D59-F166-22B0-214A-681C9C5D6F68}"/>
          </ac:picMkLst>
        </pc:picChg>
      </pc:sldChg>
    </pc:docChg>
  </pc:docChgLst>
  <pc:docChgLst>
    <pc:chgData name="Kalva, Sai" userId="S::yte2md@darden.virginia.edu::94f23aad-c8e0-4621-8c27-d8e269f9cd91" providerId="AD" clId="Web-{869E591F-A338-44A2-AB7C-04032F9A4797}"/>
    <pc:docChg chg="modSld">
      <pc:chgData name="Kalva, Sai" userId="S::yte2md@darden.virginia.edu::94f23aad-c8e0-4621-8c27-d8e269f9cd91" providerId="AD" clId="Web-{869E591F-A338-44A2-AB7C-04032F9A4797}" dt="2022-12-18T21:25:49.489" v="125" actId="1076"/>
      <pc:docMkLst>
        <pc:docMk/>
      </pc:docMkLst>
      <pc:sldChg chg="modSp">
        <pc:chgData name="Kalva, Sai" userId="S::yte2md@darden.virginia.edu::94f23aad-c8e0-4621-8c27-d8e269f9cd91" providerId="AD" clId="Web-{869E591F-A338-44A2-AB7C-04032F9A4797}" dt="2022-12-18T21:25:49.489" v="125" actId="1076"/>
        <pc:sldMkLst>
          <pc:docMk/>
          <pc:sldMk cId="870337942" sldId="369"/>
        </pc:sldMkLst>
        <pc:spChg chg="mod">
          <ac:chgData name="Kalva, Sai" userId="S::yte2md@darden.virginia.edu::94f23aad-c8e0-4621-8c27-d8e269f9cd91" providerId="AD" clId="Web-{869E591F-A338-44A2-AB7C-04032F9A4797}" dt="2022-12-18T21:25:49.489" v="125" actId="1076"/>
          <ac:spMkLst>
            <pc:docMk/>
            <pc:sldMk cId="870337942" sldId="369"/>
            <ac:spMk id="2" creationId="{2258F4F8-FD96-2A9F-7359-331BC5A4A3E3}"/>
          </ac:spMkLst>
        </pc:spChg>
      </pc:sldChg>
      <pc:sldChg chg="modSp">
        <pc:chgData name="Kalva, Sai" userId="S::yte2md@darden.virginia.edu::94f23aad-c8e0-4621-8c27-d8e269f9cd91" providerId="AD" clId="Web-{869E591F-A338-44A2-AB7C-04032F9A4797}" dt="2022-12-18T21:21:42.579" v="119" actId="20577"/>
        <pc:sldMkLst>
          <pc:docMk/>
          <pc:sldMk cId="2336129016" sldId="390"/>
        </pc:sldMkLst>
        <pc:spChg chg="mod">
          <ac:chgData name="Kalva, Sai" userId="S::yte2md@darden.virginia.edu::94f23aad-c8e0-4621-8c27-d8e269f9cd91" providerId="AD" clId="Web-{869E591F-A338-44A2-AB7C-04032F9A4797}" dt="2022-12-18T21:21:42.579" v="119" actId="20577"/>
          <ac:spMkLst>
            <pc:docMk/>
            <pc:sldMk cId="2336129016" sldId="390"/>
            <ac:spMk id="15" creationId="{B990E2E7-4966-16F1-D0F2-79B6EE34FA34}"/>
          </ac:spMkLst>
        </pc:spChg>
      </pc:sldChg>
      <pc:sldChg chg="modSp">
        <pc:chgData name="Kalva, Sai" userId="S::yte2md@darden.virginia.edu::94f23aad-c8e0-4621-8c27-d8e269f9cd91" providerId="AD" clId="Web-{869E591F-A338-44A2-AB7C-04032F9A4797}" dt="2022-12-18T21:18:38.893" v="3" actId="1076"/>
        <pc:sldMkLst>
          <pc:docMk/>
          <pc:sldMk cId="3905380672" sldId="391"/>
        </pc:sldMkLst>
        <pc:spChg chg="mod">
          <ac:chgData name="Kalva, Sai" userId="S::yte2md@darden.virginia.edu::94f23aad-c8e0-4621-8c27-d8e269f9cd91" providerId="AD" clId="Web-{869E591F-A338-44A2-AB7C-04032F9A4797}" dt="2022-12-18T21:18:38.893" v="3" actId="1076"/>
          <ac:spMkLst>
            <pc:docMk/>
            <pc:sldMk cId="3905380672" sldId="391"/>
            <ac:spMk id="6" creationId="{2236D48B-C0A3-6727-1EF3-ABE9A009E8F3}"/>
          </ac:spMkLst>
        </pc:spChg>
      </pc:sldChg>
    </pc:docChg>
  </pc:docChgLst>
  <pc:docChgLst>
    <pc:chgData name="Salazar, Fernando" userId="b92d49e5-0a1c-4c70-8c6b-3a5860645d1d" providerId="ADAL" clId="{18F0120F-9911-D545-BF77-BC0293A3E42D}"/>
    <pc:docChg chg="undo custSel addSld delSld modSld sldOrd modSection">
      <pc:chgData name="Salazar, Fernando" userId="b92d49e5-0a1c-4c70-8c6b-3a5860645d1d" providerId="ADAL" clId="{18F0120F-9911-D545-BF77-BC0293A3E42D}" dt="2022-12-19T05:11:40.705" v="3234" actId="20577"/>
      <pc:docMkLst>
        <pc:docMk/>
      </pc:docMkLst>
      <pc:sldChg chg="addSp delSp modSp mod">
        <pc:chgData name="Salazar, Fernando" userId="b92d49e5-0a1c-4c70-8c6b-3a5860645d1d" providerId="ADAL" clId="{18F0120F-9911-D545-BF77-BC0293A3E42D}" dt="2022-12-19T04:24:01.550" v="1359" actId="20577"/>
        <pc:sldMkLst>
          <pc:docMk/>
          <pc:sldMk cId="2304902712" sldId="373"/>
        </pc:sldMkLst>
        <pc:spChg chg="del">
          <ac:chgData name="Salazar, Fernando" userId="b92d49e5-0a1c-4c70-8c6b-3a5860645d1d" providerId="ADAL" clId="{18F0120F-9911-D545-BF77-BC0293A3E42D}" dt="2022-12-19T04:15:59.022" v="994" actId="478"/>
          <ac:spMkLst>
            <pc:docMk/>
            <pc:sldMk cId="2304902712" sldId="373"/>
            <ac:spMk id="2" creationId="{2258F4F8-FD96-2A9F-7359-331BC5A4A3E3}"/>
          </ac:spMkLst>
        </pc:spChg>
        <pc:spChg chg="mod">
          <ac:chgData name="Salazar, Fernando" userId="b92d49e5-0a1c-4c70-8c6b-3a5860645d1d" providerId="ADAL" clId="{18F0120F-9911-D545-BF77-BC0293A3E42D}" dt="2022-12-19T03:57:05.368" v="552" actId="20577"/>
          <ac:spMkLst>
            <pc:docMk/>
            <pc:sldMk cId="2304902712" sldId="373"/>
            <ac:spMk id="3" creationId="{305F9436-CCF7-5AD1-7B91-8AFA3EBE05FE}"/>
          </ac:spMkLst>
        </pc:spChg>
        <pc:spChg chg="mod">
          <ac:chgData name="Salazar, Fernando" userId="b92d49e5-0a1c-4c70-8c6b-3a5860645d1d" providerId="ADAL" clId="{18F0120F-9911-D545-BF77-BC0293A3E42D}" dt="2022-12-19T04:15:13.372" v="988"/>
          <ac:spMkLst>
            <pc:docMk/>
            <pc:sldMk cId="2304902712" sldId="373"/>
            <ac:spMk id="10" creationId="{10743D51-9FF4-49AD-7456-D9E23349540C}"/>
          </ac:spMkLst>
        </pc:spChg>
        <pc:spChg chg="mod">
          <ac:chgData name="Salazar, Fernando" userId="b92d49e5-0a1c-4c70-8c6b-3a5860645d1d" providerId="ADAL" clId="{18F0120F-9911-D545-BF77-BC0293A3E42D}" dt="2022-12-19T04:15:13.372" v="988"/>
          <ac:spMkLst>
            <pc:docMk/>
            <pc:sldMk cId="2304902712" sldId="373"/>
            <ac:spMk id="11" creationId="{564EB36D-BDC8-45A6-09AE-931F3927B73E}"/>
          </ac:spMkLst>
        </pc:spChg>
        <pc:spChg chg="mod">
          <ac:chgData name="Salazar, Fernando" userId="b92d49e5-0a1c-4c70-8c6b-3a5860645d1d" providerId="ADAL" clId="{18F0120F-9911-D545-BF77-BC0293A3E42D}" dt="2022-12-19T04:15:13.372" v="988"/>
          <ac:spMkLst>
            <pc:docMk/>
            <pc:sldMk cId="2304902712" sldId="373"/>
            <ac:spMk id="13" creationId="{3D616A09-E9A6-7112-4320-7F730808CCA7}"/>
          </ac:spMkLst>
        </pc:spChg>
        <pc:spChg chg="add mod">
          <ac:chgData name="Salazar, Fernando" userId="b92d49e5-0a1c-4c70-8c6b-3a5860645d1d" providerId="ADAL" clId="{18F0120F-9911-D545-BF77-BC0293A3E42D}" dt="2022-12-19T04:24:01.550" v="1359" actId="20577"/>
          <ac:spMkLst>
            <pc:docMk/>
            <pc:sldMk cId="2304902712" sldId="373"/>
            <ac:spMk id="15" creationId="{A8692B0F-E26B-D825-D8D8-6E79CDEA4760}"/>
          </ac:spMkLst>
        </pc:spChg>
        <pc:spChg chg="add del mod">
          <ac:chgData name="Salazar, Fernando" userId="b92d49e5-0a1c-4c70-8c6b-3a5860645d1d" providerId="ADAL" clId="{18F0120F-9911-D545-BF77-BC0293A3E42D}" dt="2022-12-19T04:15:42.445" v="992"/>
          <ac:spMkLst>
            <pc:docMk/>
            <pc:sldMk cId="2304902712" sldId="373"/>
            <ac:spMk id="16" creationId="{2AD9451B-5F98-DF41-6BE9-2DB48B12CE23}"/>
          </ac:spMkLst>
        </pc:spChg>
        <pc:spChg chg="add mod">
          <ac:chgData name="Salazar, Fernando" userId="b92d49e5-0a1c-4c70-8c6b-3a5860645d1d" providerId="ADAL" clId="{18F0120F-9911-D545-BF77-BC0293A3E42D}" dt="2022-12-19T04:15:52.524" v="993"/>
          <ac:spMkLst>
            <pc:docMk/>
            <pc:sldMk cId="2304902712" sldId="373"/>
            <ac:spMk id="17" creationId="{C8E09B57-100E-1769-DF22-813A3B5DD383}"/>
          </ac:spMkLst>
        </pc:spChg>
        <pc:spChg chg="mod">
          <ac:chgData name="Salazar, Fernando" userId="b92d49e5-0a1c-4c70-8c6b-3a5860645d1d" providerId="ADAL" clId="{18F0120F-9911-D545-BF77-BC0293A3E42D}" dt="2022-12-19T04:15:52.524" v="993"/>
          <ac:spMkLst>
            <pc:docMk/>
            <pc:sldMk cId="2304902712" sldId="373"/>
            <ac:spMk id="19" creationId="{A4CE9A5A-A619-1947-34C2-93D9F3399892}"/>
          </ac:spMkLst>
        </pc:spChg>
        <pc:grpChg chg="add mod">
          <ac:chgData name="Salazar, Fernando" userId="b92d49e5-0a1c-4c70-8c6b-3a5860645d1d" providerId="ADAL" clId="{18F0120F-9911-D545-BF77-BC0293A3E42D}" dt="2022-12-19T04:15:13.372" v="988"/>
          <ac:grpSpMkLst>
            <pc:docMk/>
            <pc:sldMk cId="2304902712" sldId="373"/>
            <ac:grpSpMk id="7" creationId="{9853A8E1-8D71-F7F2-D325-B1FBE9ACB0CB}"/>
          </ac:grpSpMkLst>
        </pc:grpChg>
        <pc:grpChg chg="mod">
          <ac:chgData name="Salazar, Fernando" userId="b92d49e5-0a1c-4c70-8c6b-3a5860645d1d" providerId="ADAL" clId="{18F0120F-9911-D545-BF77-BC0293A3E42D}" dt="2022-12-19T04:15:13.372" v="988"/>
          <ac:grpSpMkLst>
            <pc:docMk/>
            <pc:sldMk cId="2304902712" sldId="373"/>
            <ac:grpSpMk id="9" creationId="{8280E59B-1CD5-3AED-A977-FF189F39B4A6}"/>
          </ac:grpSpMkLst>
        </pc:grpChg>
        <pc:grpChg chg="add mod">
          <ac:chgData name="Salazar, Fernando" userId="b92d49e5-0a1c-4c70-8c6b-3a5860645d1d" providerId="ADAL" clId="{18F0120F-9911-D545-BF77-BC0293A3E42D}" dt="2022-12-19T04:15:13.372" v="988"/>
          <ac:grpSpMkLst>
            <pc:docMk/>
            <pc:sldMk cId="2304902712" sldId="373"/>
            <ac:grpSpMk id="12" creationId="{A527AADD-1113-DC7A-AFC6-CDBA176355E2}"/>
          </ac:grpSpMkLst>
        </pc:grpChg>
        <pc:grpChg chg="add mod">
          <ac:chgData name="Salazar, Fernando" userId="b92d49e5-0a1c-4c70-8c6b-3a5860645d1d" providerId="ADAL" clId="{18F0120F-9911-D545-BF77-BC0293A3E42D}" dt="2022-12-19T04:16:22.675" v="1001" actId="14100"/>
          <ac:grpSpMkLst>
            <pc:docMk/>
            <pc:sldMk cId="2304902712" sldId="373"/>
            <ac:grpSpMk id="18" creationId="{5E5E2317-2551-B623-D6E7-9D3B44DC10C3}"/>
          </ac:grpSpMkLst>
        </pc:grpChg>
        <pc:picChg chg="add mod">
          <ac:chgData name="Salazar, Fernando" userId="b92d49e5-0a1c-4c70-8c6b-3a5860645d1d" providerId="ADAL" clId="{18F0120F-9911-D545-BF77-BC0293A3E42D}" dt="2022-12-19T04:16:32.227" v="1002" actId="14100"/>
          <ac:picMkLst>
            <pc:docMk/>
            <pc:sldMk cId="2304902712" sldId="373"/>
            <ac:picMk id="6" creationId="{11F3B634-BC61-21E0-64A9-E857BF3F98E6}"/>
          </ac:picMkLst>
        </pc:picChg>
        <pc:cxnChg chg="mod">
          <ac:chgData name="Salazar, Fernando" userId="b92d49e5-0a1c-4c70-8c6b-3a5860645d1d" providerId="ADAL" clId="{18F0120F-9911-D545-BF77-BC0293A3E42D}" dt="2022-12-19T04:15:13.372" v="988"/>
          <ac:cxnSpMkLst>
            <pc:docMk/>
            <pc:sldMk cId="2304902712" sldId="373"/>
            <ac:cxnSpMk id="8" creationId="{BB806831-FFB7-50BC-F208-E6EE8BE3BF24}"/>
          </ac:cxnSpMkLst>
        </pc:cxnChg>
        <pc:cxnChg chg="mod">
          <ac:chgData name="Salazar, Fernando" userId="b92d49e5-0a1c-4c70-8c6b-3a5860645d1d" providerId="ADAL" clId="{18F0120F-9911-D545-BF77-BC0293A3E42D}" dt="2022-12-19T04:15:13.372" v="988"/>
          <ac:cxnSpMkLst>
            <pc:docMk/>
            <pc:sldMk cId="2304902712" sldId="373"/>
            <ac:cxnSpMk id="14" creationId="{3F9628C0-F80A-EAEB-6D7A-BBE44DE5E804}"/>
          </ac:cxnSpMkLst>
        </pc:cxnChg>
        <pc:cxnChg chg="mod">
          <ac:chgData name="Salazar, Fernando" userId="b92d49e5-0a1c-4c70-8c6b-3a5860645d1d" providerId="ADAL" clId="{18F0120F-9911-D545-BF77-BC0293A3E42D}" dt="2022-12-19T04:15:52.524" v="993"/>
          <ac:cxnSpMkLst>
            <pc:docMk/>
            <pc:sldMk cId="2304902712" sldId="373"/>
            <ac:cxnSpMk id="20" creationId="{1519DE3E-5367-C888-1FF0-F8143E6ED2E6}"/>
          </ac:cxnSpMkLst>
        </pc:cxnChg>
      </pc:sldChg>
      <pc:sldChg chg="modSp mod">
        <pc:chgData name="Salazar, Fernando" userId="b92d49e5-0a1c-4c70-8c6b-3a5860645d1d" providerId="ADAL" clId="{18F0120F-9911-D545-BF77-BC0293A3E42D}" dt="2022-12-19T05:06:51.626" v="2939" actId="20577"/>
        <pc:sldMkLst>
          <pc:docMk/>
          <pc:sldMk cId="2646138043" sldId="375"/>
        </pc:sldMkLst>
        <pc:spChg chg="mod">
          <ac:chgData name="Salazar, Fernando" userId="b92d49e5-0a1c-4c70-8c6b-3a5860645d1d" providerId="ADAL" clId="{18F0120F-9911-D545-BF77-BC0293A3E42D}" dt="2022-12-19T05:06:51.626" v="2939" actId="20577"/>
          <ac:spMkLst>
            <pc:docMk/>
            <pc:sldMk cId="2646138043" sldId="375"/>
            <ac:spMk id="2" creationId="{CF1258F7-8BB6-25D7-25BB-A57286977D5B}"/>
          </ac:spMkLst>
        </pc:spChg>
        <pc:picChg chg="mod">
          <ac:chgData name="Salazar, Fernando" userId="b92d49e5-0a1c-4c70-8c6b-3a5860645d1d" providerId="ADAL" clId="{18F0120F-9911-D545-BF77-BC0293A3E42D}" dt="2022-12-19T05:04:50.410" v="2927" actId="1076"/>
          <ac:picMkLst>
            <pc:docMk/>
            <pc:sldMk cId="2646138043" sldId="375"/>
            <ac:picMk id="8" creationId="{18670D86-0721-649A-FE8E-D7029DD8D004}"/>
          </ac:picMkLst>
        </pc:picChg>
      </pc:sldChg>
      <pc:sldChg chg="modSp mod">
        <pc:chgData name="Salazar, Fernando" userId="b92d49e5-0a1c-4c70-8c6b-3a5860645d1d" providerId="ADAL" clId="{18F0120F-9911-D545-BF77-BC0293A3E42D}" dt="2022-12-19T05:03:27.092" v="2920" actId="20577"/>
        <pc:sldMkLst>
          <pc:docMk/>
          <pc:sldMk cId="3974860720" sldId="2141410978"/>
        </pc:sldMkLst>
        <pc:spChg chg="mod">
          <ac:chgData name="Salazar, Fernando" userId="b92d49e5-0a1c-4c70-8c6b-3a5860645d1d" providerId="ADAL" clId="{18F0120F-9911-D545-BF77-BC0293A3E42D}" dt="2022-12-19T05:03:27.092" v="2920" actId="20577"/>
          <ac:spMkLst>
            <pc:docMk/>
            <pc:sldMk cId="3974860720" sldId="2141410978"/>
            <ac:spMk id="28" creationId="{E93753FD-7F47-57FB-4282-2DD3A6732B3E}"/>
          </ac:spMkLst>
        </pc:spChg>
      </pc:sldChg>
      <pc:sldChg chg="addSp delSp modSp mod">
        <pc:chgData name="Salazar, Fernando" userId="b92d49e5-0a1c-4c70-8c6b-3a5860645d1d" providerId="ADAL" clId="{18F0120F-9911-D545-BF77-BC0293A3E42D}" dt="2022-12-19T05:11:40.705" v="3234" actId="20577"/>
        <pc:sldMkLst>
          <pc:docMk/>
          <pc:sldMk cId="1861626177" sldId="2141410980"/>
        </pc:sldMkLst>
        <pc:spChg chg="add del mod">
          <ac:chgData name="Salazar, Fernando" userId="b92d49e5-0a1c-4c70-8c6b-3a5860645d1d" providerId="ADAL" clId="{18F0120F-9911-D545-BF77-BC0293A3E42D}" dt="2022-12-19T05:06:47.979" v="2933"/>
          <ac:spMkLst>
            <pc:docMk/>
            <pc:sldMk cId="1861626177" sldId="2141410980"/>
            <ac:spMk id="2" creationId="{BFABA9E6-3279-6DF0-7801-D33F081BD5D1}"/>
          </ac:spMkLst>
        </pc:spChg>
        <pc:spChg chg="add mod">
          <ac:chgData name="Salazar, Fernando" userId="b92d49e5-0a1c-4c70-8c6b-3a5860645d1d" providerId="ADAL" clId="{18F0120F-9911-D545-BF77-BC0293A3E42D}" dt="2022-12-19T05:11:40.705" v="3234" actId="20577"/>
          <ac:spMkLst>
            <pc:docMk/>
            <pc:sldMk cId="1861626177" sldId="2141410980"/>
            <ac:spMk id="5" creationId="{2E2C14D4-97D7-5BD7-5967-7591050EFC3D}"/>
          </ac:spMkLst>
        </pc:spChg>
      </pc:sldChg>
      <pc:sldChg chg="addSp delSp modSp new mod ord">
        <pc:chgData name="Salazar, Fernando" userId="b92d49e5-0a1c-4c70-8c6b-3a5860645d1d" providerId="ADAL" clId="{18F0120F-9911-D545-BF77-BC0293A3E42D}" dt="2022-12-19T05:03:42.726" v="2923"/>
        <pc:sldMkLst>
          <pc:docMk/>
          <pc:sldMk cId="469298550" sldId="2141410984"/>
        </pc:sldMkLst>
        <pc:spChg chg="del">
          <ac:chgData name="Salazar, Fernando" userId="b92d49e5-0a1c-4c70-8c6b-3a5860645d1d" providerId="ADAL" clId="{18F0120F-9911-D545-BF77-BC0293A3E42D}" dt="2022-12-19T03:26:07.347" v="9"/>
          <ac:spMkLst>
            <pc:docMk/>
            <pc:sldMk cId="469298550" sldId="2141410984"/>
            <ac:spMk id="2" creationId="{93770A10-0455-7AA6-231D-7B34AC61EE87}"/>
          </ac:spMkLst>
        </pc:spChg>
        <pc:spChg chg="mod">
          <ac:chgData name="Salazar, Fernando" userId="b92d49e5-0a1c-4c70-8c6b-3a5860645d1d" providerId="ADAL" clId="{18F0120F-9911-D545-BF77-BC0293A3E42D}" dt="2022-12-19T03:28:44.091" v="48" actId="20577"/>
          <ac:spMkLst>
            <pc:docMk/>
            <pc:sldMk cId="469298550" sldId="2141410984"/>
            <ac:spMk id="3" creationId="{81C344E9-BF11-A684-A7D7-8E47FF2BF7D8}"/>
          </ac:spMkLst>
        </pc:spChg>
        <pc:spChg chg="mod">
          <ac:chgData name="Salazar, Fernando" userId="b92d49e5-0a1c-4c70-8c6b-3a5860645d1d" providerId="ADAL" clId="{18F0120F-9911-D545-BF77-BC0293A3E42D}" dt="2022-12-19T05:03:42.726" v="2923"/>
          <ac:spMkLst>
            <pc:docMk/>
            <pc:sldMk cId="469298550" sldId="2141410984"/>
            <ac:spMk id="4" creationId="{33CB71CC-CDA5-454B-1822-8FC9CFF9B57A}"/>
          </ac:spMkLst>
        </pc:spChg>
        <pc:spChg chg="mod">
          <ac:chgData name="Salazar, Fernando" userId="b92d49e5-0a1c-4c70-8c6b-3a5860645d1d" providerId="ADAL" clId="{18F0120F-9911-D545-BF77-BC0293A3E42D}" dt="2022-12-19T03:32:09.437" v="51"/>
          <ac:spMkLst>
            <pc:docMk/>
            <pc:sldMk cId="469298550" sldId="2141410984"/>
            <ac:spMk id="10" creationId="{4EBD1FE7-B95F-8518-710C-0877BA8B99EC}"/>
          </ac:spMkLst>
        </pc:spChg>
        <pc:spChg chg="mod">
          <ac:chgData name="Salazar, Fernando" userId="b92d49e5-0a1c-4c70-8c6b-3a5860645d1d" providerId="ADAL" clId="{18F0120F-9911-D545-BF77-BC0293A3E42D}" dt="2022-12-19T03:32:09.437" v="51"/>
          <ac:spMkLst>
            <pc:docMk/>
            <pc:sldMk cId="469298550" sldId="2141410984"/>
            <ac:spMk id="11" creationId="{3A225D25-909F-7C15-D974-A5F0A39E89A7}"/>
          </ac:spMkLst>
        </pc:spChg>
        <pc:spChg chg="add mod">
          <ac:chgData name="Salazar, Fernando" userId="b92d49e5-0a1c-4c70-8c6b-3a5860645d1d" providerId="ADAL" clId="{18F0120F-9911-D545-BF77-BC0293A3E42D}" dt="2022-12-19T03:32:31.867" v="53"/>
          <ac:spMkLst>
            <pc:docMk/>
            <pc:sldMk cId="469298550" sldId="2141410984"/>
            <ac:spMk id="12" creationId="{08C28515-04F1-C1EA-B544-7754BDC10742}"/>
          </ac:spMkLst>
        </pc:spChg>
        <pc:spChg chg="mod">
          <ac:chgData name="Salazar, Fernando" userId="b92d49e5-0a1c-4c70-8c6b-3a5860645d1d" providerId="ADAL" clId="{18F0120F-9911-D545-BF77-BC0293A3E42D}" dt="2022-12-19T03:32:31.867" v="53"/>
          <ac:spMkLst>
            <pc:docMk/>
            <pc:sldMk cId="469298550" sldId="2141410984"/>
            <ac:spMk id="14" creationId="{A8DEAF55-D871-2B8A-E358-28EA7A026706}"/>
          </ac:spMkLst>
        </pc:spChg>
        <pc:spChg chg="mod">
          <ac:chgData name="Salazar, Fernando" userId="b92d49e5-0a1c-4c70-8c6b-3a5860645d1d" providerId="ADAL" clId="{18F0120F-9911-D545-BF77-BC0293A3E42D}" dt="2022-12-19T03:32:31.867" v="53"/>
          <ac:spMkLst>
            <pc:docMk/>
            <pc:sldMk cId="469298550" sldId="2141410984"/>
            <ac:spMk id="17" creationId="{01552E51-DD9B-CBCA-2A5B-8F8A2008A295}"/>
          </ac:spMkLst>
        </pc:spChg>
        <pc:spChg chg="add mod">
          <ac:chgData name="Salazar, Fernando" userId="b92d49e5-0a1c-4c70-8c6b-3a5860645d1d" providerId="ADAL" clId="{18F0120F-9911-D545-BF77-BC0293A3E42D}" dt="2022-12-19T03:41:47.040" v="508" actId="20577"/>
          <ac:spMkLst>
            <pc:docMk/>
            <pc:sldMk cId="469298550" sldId="2141410984"/>
            <ac:spMk id="19" creationId="{2A8FAB38-38CC-FEBD-632D-B26E2C5093F1}"/>
          </ac:spMkLst>
        </pc:spChg>
        <pc:spChg chg="add del mod">
          <ac:chgData name="Salazar, Fernando" userId="b92d49e5-0a1c-4c70-8c6b-3a5860645d1d" providerId="ADAL" clId="{18F0120F-9911-D545-BF77-BC0293A3E42D}" dt="2022-12-19T03:36:41.283" v="135" actId="478"/>
          <ac:spMkLst>
            <pc:docMk/>
            <pc:sldMk cId="469298550" sldId="2141410984"/>
            <ac:spMk id="21" creationId="{3079ABC2-CF8A-4F09-FCAE-F67187ABCE45}"/>
          </ac:spMkLst>
        </pc:spChg>
        <pc:spChg chg="add del mod">
          <ac:chgData name="Salazar, Fernando" userId="b92d49e5-0a1c-4c70-8c6b-3a5860645d1d" providerId="ADAL" clId="{18F0120F-9911-D545-BF77-BC0293A3E42D}" dt="2022-12-19T03:36:43.060" v="136" actId="478"/>
          <ac:spMkLst>
            <pc:docMk/>
            <pc:sldMk cId="469298550" sldId="2141410984"/>
            <ac:spMk id="25" creationId="{2F0D4532-FB71-3713-68A5-5200B65DCC28}"/>
          </ac:spMkLst>
        </pc:spChg>
        <pc:grpChg chg="add mod">
          <ac:chgData name="Salazar, Fernando" userId="b92d49e5-0a1c-4c70-8c6b-3a5860645d1d" providerId="ADAL" clId="{18F0120F-9911-D545-BF77-BC0293A3E42D}" dt="2022-12-19T03:42:01.023" v="509" actId="14100"/>
          <ac:grpSpMkLst>
            <pc:docMk/>
            <pc:sldMk cId="469298550" sldId="2141410984"/>
            <ac:grpSpMk id="7" creationId="{0353C9D0-3B3C-CC9B-A181-563E1EDF5B12}"/>
          </ac:grpSpMkLst>
        </pc:grpChg>
        <pc:grpChg chg="mod">
          <ac:chgData name="Salazar, Fernando" userId="b92d49e5-0a1c-4c70-8c6b-3a5860645d1d" providerId="ADAL" clId="{18F0120F-9911-D545-BF77-BC0293A3E42D}" dt="2022-12-19T03:32:09.437" v="51"/>
          <ac:grpSpMkLst>
            <pc:docMk/>
            <pc:sldMk cId="469298550" sldId="2141410984"/>
            <ac:grpSpMk id="9" creationId="{B7D23762-704F-7535-FE65-AC46494A528D}"/>
          </ac:grpSpMkLst>
        </pc:grpChg>
        <pc:grpChg chg="add mod">
          <ac:chgData name="Salazar, Fernando" userId="b92d49e5-0a1c-4c70-8c6b-3a5860645d1d" providerId="ADAL" clId="{18F0120F-9911-D545-BF77-BC0293A3E42D}" dt="2022-12-19T03:40:25.307" v="375" actId="14100"/>
          <ac:grpSpMkLst>
            <pc:docMk/>
            <pc:sldMk cId="469298550" sldId="2141410984"/>
            <ac:grpSpMk id="13" creationId="{2D5B71F0-A274-9A91-9017-BC73C298CE28}"/>
          </ac:grpSpMkLst>
        </pc:grpChg>
        <pc:grpChg chg="add mod">
          <ac:chgData name="Salazar, Fernando" userId="b92d49e5-0a1c-4c70-8c6b-3a5860645d1d" providerId="ADAL" clId="{18F0120F-9911-D545-BF77-BC0293A3E42D}" dt="2022-12-19T03:36:34.255" v="133" actId="14100"/>
          <ac:grpSpMkLst>
            <pc:docMk/>
            <pc:sldMk cId="469298550" sldId="2141410984"/>
            <ac:grpSpMk id="16" creationId="{0D0C0749-CE5A-BADF-38D5-E1C0FAB0974B}"/>
          </ac:grpSpMkLst>
        </pc:grpChg>
        <pc:picChg chg="add del mod">
          <ac:chgData name="Salazar, Fernando" userId="b92d49e5-0a1c-4c70-8c6b-3a5860645d1d" providerId="ADAL" clId="{18F0120F-9911-D545-BF77-BC0293A3E42D}" dt="2022-12-19T03:35:37.313" v="124" actId="478"/>
          <ac:picMkLst>
            <pc:docMk/>
            <pc:sldMk cId="469298550" sldId="2141410984"/>
            <ac:picMk id="6" creationId="{2A339251-538B-284E-C2ED-31FA7FF5C8A3}"/>
          </ac:picMkLst>
        </pc:picChg>
        <pc:picChg chg="add del mod">
          <ac:chgData name="Salazar, Fernando" userId="b92d49e5-0a1c-4c70-8c6b-3a5860645d1d" providerId="ADAL" clId="{18F0120F-9911-D545-BF77-BC0293A3E42D}" dt="2022-12-19T03:35:53.860" v="128" actId="478"/>
          <ac:picMkLst>
            <pc:docMk/>
            <pc:sldMk cId="469298550" sldId="2141410984"/>
            <ac:picMk id="22" creationId="{031895E8-70D4-6843-6150-DD58E398B661}"/>
          </ac:picMkLst>
        </pc:picChg>
        <pc:picChg chg="add mod">
          <ac:chgData name="Salazar, Fernando" userId="b92d49e5-0a1c-4c70-8c6b-3a5860645d1d" providerId="ADAL" clId="{18F0120F-9911-D545-BF77-BC0293A3E42D}" dt="2022-12-19T03:37:04.921" v="140" actId="1076"/>
          <ac:picMkLst>
            <pc:docMk/>
            <pc:sldMk cId="469298550" sldId="2141410984"/>
            <ac:picMk id="23" creationId="{9AA39091-0E68-B64E-1ACC-768FE59EF933}"/>
          </ac:picMkLst>
        </pc:picChg>
        <pc:cxnChg chg="mod">
          <ac:chgData name="Salazar, Fernando" userId="b92d49e5-0a1c-4c70-8c6b-3a5860645d1d" providerId="ADAL" clId="{18F0120F-9911-D545-BF77-BC0293A3E42D}" dt="2022-12-19T03:32:09.437" v="51"/>
          <ac:cxnSpMkLst>
            <pc:docMk/>
            <pc:sldMk cId="469298550" sldId="2141410984"/>
            <ac:cxnSpMk id="8" creationId="{CEE61E69-1C6F-1C3D-C5BC-F8C7FF7D78B7}"/>
          </ac:cxnSpMkLst>
        </pc:cxnChg>
        <pc:cxnChg chg="mod">
          <ac:chgData name="Salazar, Fernando" userId="b92d49e5-0a1c-4c70-8c6b-3a5860645d1d" providerId="ADAL" clId="{18F0120F-9911-D545-BF77-BC0293A3E42D}" dt="2022-12-19T03:32:31.867" v="53"/>
          <ac:cxnSpMkLst>
            <pc:docMk/>
            <pc:sldMk cId="469298550" sldId="2141410984"/>
            <ac:cxnSpMk id="15" creationId="{1A2DDE23-EEEF-1CE0-311A-3FC38D085F21}"/>
          </ac:cxnSpMkLst>
        </pc:cxnChg>
        <pc:cxnChg chg="mod">
          <ac:chgData name="Salazar, Fernando" userId="b92d49e5-0a1c-4c70-8c6b-3a5860645d1d" providerId="ADAL" clId="{18F0120F-9911-D545-BF77-BC0293A3E42D}" dt="2022-12-19T03:32:31.867" v="53"/>
          <ac:cxnSpMkLst>
            <pc:docMk/>
            <pc:sldMk cId="469298550" sldId="2141410984"/>
            <ac:cxnSpMk id="18" creationId="{73F2F493-0E94-05EA-A997-05563CCB2D89}"/>
          </ac:cxnSpMkLst>
        </pc:cxnChg>
      </pc:sldChg>
      <pc:sldChg chg="addSp delSp modSp new mod">
        <pc:chgData name="Salazar, Fernando" userId="b92d49e5-0a1c-4c70-8c6b-3a5860645d1d" providerId="ADAL" clId="{18F0120F-9911-D545-BF77-BC0293A3E42D}" dt="2022-12-19T05:03:39.293" v="2922"/>
        <pc:sldMkLst>
          <pc:docMk/>
          <pc:sldMk cId="350304568" sldId="2141410985"/>
        </pc:sldMkLst>
        <pc:spChg chg="del">
          <ac:chgData name="Salazar, Fernando" userId="b92d49e5-0a1c-4c70-8c6b-3a5860645d1d" providerId="ADAL" clId="{18F0120F-9911-D545-BF77-BC0293A3E42D}" dt="2022-12-19T04:04:20.619" v="554" actId="478"/>
          <ac:spMkLst>
            <pc:docMk/>
            <pc:sldMk cId="350304568" sldId="2141410985"/>
            <ac:spMk id="2" creationId="{B6B58751-9A89-EE7B-FE52-D862B54903C4}"/>
          </ac:spMkLst>
        </pc:spChg>
        <pc:spChg chg="mod">
          <ac:chgData name="Salazar, Fernando" userId="b92d49e5-0a1c-4c70-8c6b-3a5860645d1d" providerId="ADAL" clId="{18F0120F-9911-D545-BF77-BC0293A3E42D}" dt="2022-12-19T04:09:19.886" v="972" actId="20577"/>
          <ac:spMkLst>
            <pc:docMk/>
            <pc:sldMk cId="350304568" sldId="2141410985"/>
            <ac:spMk id="3" creationId="{394475F3-926E-74B0-AD95-EABC3C08718B}"/>
          </ac:spMkLst>
        </pc:spChg>
        <pc:spChg chg="mod">
          <ac:chgData name="Salazar, Fernando" userId="b92d49e5-0a1c-4c70-8c6b-3a5860645d1d" providerId="ADAL" clId="{18F0120F-9911-D545-BF77-BC0293A3E42D}" dt="2022-12-19T05:03:39.293" v="2922"/>
          <ac:spMkLst>
            <pc:docMk/>
            <pc:sldMk cId="350304568" sldId="2141410985"/>
            <ac:spMk id="4" creationId="{2C16DE42-435C-0DBD-56A0-CFD4ABA384DE}"/>
          </ac:spMkLst>
        </pc:spChg>
        <pc:picChg chg="add del mod">
          <ac:chgData name="Salazar, Fernando" userId="b92d49e5-0a1c-4c70-8c6b-3a5860645d1d" providerId="ADAL" clId="{18F0120F-9911-D545-BF77-BC0293A3E42D}" dt="2022-12-19T04:13:49.626" v="979" actId="478"/>
          <ac:picMkLst>
            <pc:docMk/>
            <pc:sldMk cId="350304568" sldId="2141410985"/>
            <ac:picMk id="6" creationId="{DE9C8930-4142-5153-3D35-C916E1C2E660}"/>
          </ac:picMkLst>
        </pc:picChg>
        <pc:picChg chg="add mod">
          <ac:chgData name="Salazar, Fernando" userId="b92d49e5-0a1c-4c70-8c6b-3a5860645d1d" providerId="ADAL" clId="{18F0120F-9911-D545-BF77-BC0293A3E42D}" dt="2022-12-19T04:30:11.662" v="1501" actId="14100"/>
          <ac:picMkLst>
            <pc:docMk/>
            <pc:sldMk cId="350304568" sldId="2141410985"/>
            <ac:picMk id="7" creationId="{1A581FB0-8616-5497-E254-17FE668D757C}"/>
          </ac:picMkLst>
        </pc:picChg>
        <pc:picChg chg="add mod">
          <ac:chgData name="Salazar, Fernando" userId="b92d49e5-0a1c-4c70-8c6b-3a5860645d1d" providerId="ADAL" clId="{18F0120F-9911-D545-BF77-BC0293A3E42D}" dt="2022-12-19T04:29:44.826" v="1500" actId="1038"/>
          <ac:picMkLst>
            <pc:docMk/>
            <pc:sldMk cId="350304568" sldId="2141410985"/>
            <ac:picMk id="8" creationId="{E607DA35-466B-A318-85B6-C8EB6CDD5FE9}"/>
          </ac:picMkLst>
        </pc:picChg>
        <pc:picChg chg="add del mod">
          <ac:chgData name="Salazar, Fernando" userId="b92d49e5-0a1c-4c70-8c6b-3a5860645d1d" providerId="ADAL" clId="{18F0120F-9911-D545-BF77-BC0293A3E42D}" dt="2022-12-19T04:27:06.430" v="1431" actId="478"/>
          <ac:picMkLst>
            <pc:docMk/>
            <pc:sldMk cId="350304568" sldId="2141410985"/>
            <ac:picMk id="9" creationId="{9D625126-1461-8EF5-4026-2102306FC47E}"/>
          </ac:picMkLst>
        </pc:picChg>
        <pc:picChg chg="add mod">
          <ac:chgData name="Salazar, Fernando" userId="b92d49e5-0a1c-4c70-8c6b-3a5860645d1d" providerId="ADAL" clId="{18F0120F-9911-D545-BF77-BC0293A3E42D}" dt="2022-12-19T04:34:15.475" v="1503" actId="1076"/>
          <ac:picMkLst>
            <pc:docMk/>
            <pc:sldMk cId="350304568" sldId="2141410985"/>
            <ac:picMk id="10" creationId="{70911EDE-C248-8EC1-9426-6A9167967E28}"/>
          </ac:picMkLst>
        </pc:picChg>
      </pc:sldChg>
      <pc:sldChg chg="addSp delSp modSp add mod">
        <pc:chgData name="Salazar, Fernando" userId="b92d49e5-0a1c-4c70-8c6b-3a5860645d1d" providerId="ADAL" clId="{18F0120F-9911-D545-BF77-BC0293A3E42D}" dt="2022-12-19T04:46:29.817" v="1844" actId="20577"/>
        <pc:sldMkLst>
          <pc:docMk/>
          <pc:sldMk cId="314344021" sldId="2141410986"/>
        </pc:sldMkLst>
        <pc:spChg chg="mod">
          <ac:chgData name="Salazar, Fernando" userId="b92d49e5-0a1c-4c70-8c6b-3a5860645d1d" providerId="ADAL" clId="{18F0120F-9911-D545-BF77-BC0293A3E42D}" dt="2022-12-19T04:35:14.915" v="1546" actId="20577"/>
          <ac:spMkLst>
            <pc:docMk/>
            <pc:sldMk cId="314344021" sldId="2141410986"/>
            <ac:spMk id="3" creationId="{305F9436-CCF7-5AD1-7B91-8AFA3EBE05FE}"/>
          </ac:spMkLst>
        </pc:spChg>
        <pc:spChg chg="mod">
          <ac:chgData name="Salazar, Fernando" userId="b92d49e5-0a1c-4c70-8c6b-3a5860645d1d" providerId="ADAL" clId="{18F0120F-9911-D545-BF77-BC0293A3E42D}" dt="2022-12-19T04:46:29.817" v="1844" actId="20577"/>
          <ac:spMkLst>
            <pc:docMk/>
            <pc:sldMk cId="314344021" sldId="2141410986"/>
            <ac:spMk id="15" creationId="{A8692B0F-E26B-D825-D8D8-6E79CDEA4760}"/>
          </ac:spMkLst>
        </pc:spChg>
        <pc:picChg chg="add mod">
          <ac:chgData name="Salazar, Fernando" userId="b92d49e5-0a1c-4c70-8c6b-3a5860645d1d" providerId="ADAL" clId="{18F0120F-9911-D545-BF77-BC0293A3E42D}" dt="2022-12-19T04:36:19.215" v="1551" actId="14100"/>
          <ac:picMkLst>
            <pc:docMk/>
            <pc:sldMk cId="314344021" sldId="2141410986"/>
            <ac:picMk id="2" creationId="{83895629-F6E0-8416-1FB8-0C90B5484D6A}"/>
          </ac:picMkLst>
        </pc:picChg>
        <pc:picChg chg="del">
          <ac:chgData name="Salazar, Fernando" userId="b92d49e5-0a1c-4c70-8c6b-3a5860645d1d" providerId="ADAL" clId="{18F0120F-9911-D545-BF77-BC0293A3E42D}" dt="2022-12-19T04:35:19.329" v="1547" actId="478"/>
          <ac:picMkLst>
            <pc:docMk/>
            <pc:sldMk cId="314344021" sldId="2141410986"/>
            <ac:picMk id="6" creationId="{11F3B634-BC61-21E0-64A9-E857BF3F98E6}"/>
          </ac:picMkLst>
        </pc:picChg>
      </pc:sldChg>
      <pc:sldChg chg="addSp delSp modSp add mod">
        <pc:chgData name="Salazar, Fernando" userId="b92d49e5-0a1c-4c70-8c6b-3a5860645d1d" providerId="ADAL" clId="{18F0120F-9911-D545-BF77-BC0293A3E42D}" dt="2022-12-19T05:03:34.478" v="2921"/>
        <pc:sldMkLst>
          <pc:docMk/>
          <pc:sldMk cId="2044524698" sldId="2141410987"/>
        </pc:sldMkLst>
        <pc:spChg chg="mod">
          <ac:chgData name="Salazar, Fernando" userId="b92d49e5-0a1c-4c70-8c6b-3a5860645d1d" providerId="ADAL" clId="{18F0120F-9911-D545-BF77-BC0293A3E42D}" dt="2022-12-19T04:48:36.346" v="1924" actId="20577"/>
          <ac:spMkLst>
            <pc:docMk/>
            <pc:sldMk cId="2044524698" sldId="2141410987"/>
            <ac:spMk id="3" creationId="{394475F3-926E-74B0-AD95-EABC3C08718B}"/>
          </ac:spMkLst>
        </pc:spChg>
        <pc:spChg chg="mod">
          <ac:chgData name="Salazar, Fernando" userId="b92d49e5-0a1c-4c70-8c6b-3a5860645d1d" providerId="ADAL" clId="{18F0120F-9911-D545-BF77-BC0293A3E42D}" dt="2022-12-19T05:03:34.478" v="2921"/>
          <ac:spMkLst>
            <pc:docMk/>
            <pc:sldMk cId="2044524698" sldId="2141410987"/>
            <ac:spMk id="4" creationId="{2C16DE42-435C-0DBD-56A0-CFD4ABA384DE}"/>
          </ac:spMkLst>
        </pc:spChg>
        <pc:spChg chg="del">
          <ac:chgData name="Salazar, Fernando" userId="b92d49e5-0a1c-4c70-8c6b-3a5860645d1d" providerId="ADAL" clId="{18F0120F-9911-D545-BF77-BC0293A3E42D}" dt="2022-12-19T04:49:01.251" v="1929" actId="478"/>
          <ac:spMkLst>
            <pc:docMk/>
            <pc:sldMk cId="2044524698" sldId="2141410987"/>
            <ac:spMk id="5" creationId="{924C4F57-9CF8-01F6-2FA8-738771E5FB37}"/>
          </ac:spMkLst>
        </pc:spChg>
        <pc:spChg chg="mod">
          <ac:chgData name="Salazar, Fernando" userId="b92d49e5-0a1c-4c70-8c6b-3a5860645d1d" providerId="ADAL" clId="{18F0120F-9911-D545-BF77-BC0293A3E42D}" dt="2022-12-19T04:48:59.367" v="1928"/>
          <ac:spMkLst>
            <pc:docMk/>
            <pc:sldMk cId="2044524698" sldId="2141410987"/>
            <ac:spMk id="11" creationId="{0803985D-4AFB-2C60-A877-3869B88FBFE7}"/>
          </ac:spMkLst>
        </pc:spChg>
        <pc:spChg chg="mod">
          <ac:chgData name="Salazar, Fernando" userId="b92d49e5-0a1c-4c70-8c6b-3a5860645d1d" providerId="ADAL" clId="{18F0120F-9911-D545-BF77-BC0293A3E42D}" dt="2022-12-19T04:48:59.367" v="1928"/>
          <ac:spMkLst>
            <pc:docMk/>
            <pc:sldMk cId="2044524698" sldId="2141410987"/>
            <ac:spMk id="12" creationId="{0F095D66-FA1B-1E6C-138C-7BE6343187F4}"/>
          </ac:spMkLst>
        </pc:spChg>
        <pc:spChg chg="add del mod">
          <ac:chgData name="Salazar, Fernando" userId="b92d49e5-0a1c-4c70-8c6b-3a5860645d1d" providerId="ADAL" clId="{18F0120F-9911-D545-BF77-BC0293A3E42D}" dt="2022-12-19T04:49:03.924" v="1930" actId="478"/>
          <ac:spMkLst>
            <pc:docMk/>
            <pc:sldMk cId="2044524698" sldId="2141410987"/>
            <ac:spMk id="13" creationId="{8CA4D257-9C59-9E1F-3083-77C2F5F74468}"/>
          </ac:spMkLst>
        </pc:spChg>
        <pc:spChg chg="mod">
          <ac:chgData name="Salazar, Fernando" userId="b92d49e5-0a1c-4c70-8c6b-3a5860645d1d" providerId="ADAL" clId="{18F0120F-9911-D545-BF77-BC0293A3E42D}" dt="2022-12-19T04:48:59.367" v="1928"/>
          <ac:spMkLst>
            <pc:docMk/>
            <pc:sldMk cId="2044524698" sldId="2141410987"/>
            <ac:spMk id="15" creationId="{3C7573D4-5FE8-AEA7-4CBC-0D5DA0BAA65E}"/>
          </ac:spMkLst>
        </pc:spChg>
        <pc:spChg chg="mod">
          <ac:chgData name="Salazar, Fernando" userId="b92d49e5-0a1c-4c70-8c6b-3a5860645d1d" providerId="ADAL" clId="{18F0120F-9911-D545-BF77-BC0293A3E42D}" dt="2022-12-19T04:48:59.367" v="1928"/>
          <ac:spMkLst>
            <pc:docMk/>
            <pc:sldMk cId="2044524698" sldId="2141410987"/>
            <ac:spMk id="18" creationId="{8D9A5E8A-BBC6-E19E-7E1E-456E8287C998}"/>
          </ac:spMkLst>
        </pc:spChg>
        <pc:spChg chg="add mod">
          <ac:chgData name="Salazar, Fernando" userId="b92d49e5-0a1c-4c70-8c6b-3a5860645d1d" providerId="ADAL" clId="{18F0120F-9911-D545-BF77-BC0293A3E42D}" dt="2022-12-19T04:57:20.316" v="2237" actId="1036"/>
          <ac:spMkLst>
            <pc:docMk/>
            <pc:sldMk cId="2044524698" sldId="2141410987"/>
            <ac:spMk id="20" creationId="{BB2C46AF-861A-F5E2-DB78-569B054DC483}"/>
          </ac:spMkLst>
        </pc:spChg>
        <pc:grpChg chg="add mod">
          <ac:chgData name="Salazar, Fernando" userId="b92d49e5-0a1c-4c70-8c6b-3a5860645d1d" providerId="ADAL" clId="{18F0120F-9911-D545-BF77-BC0293A3E42D}" dt="2022-12-19T04:57:33.008" v="2243" actId="1076"/>
          <ac:grpSpMkLst>
            <pc:docMk/>
            <pc:sldMk cId="2044524698" sldId="2141410987"/>
            <ac:grpSpMk id="2" creationId="{F1255893-CFE6-B2B8-7512-73695A2346C4}"/>
          </ac:grpSpMkLst>
        </pc:grpChg>
        <pc:grpChg chg="mod">
          <ac:chgData name="Salazar, Fernando" userId="b92d49e5-0a1c-4c70-8c6b-3a5860645d1d" providerId="ADAL" clId="{18F0120F-9911-D545-BF77-BC0293A3E42D}" dt="2022-12-19T04:48:59.367" v="1928"/>
          <ac:grpSpMkLst>
            <pc:docMk/>
            <pc:sldMk cId="2044524698" sldId="2141410987"/>
            <ac:grpSpMk id="9" creationId="{75A3C9D3-6928-E06F-1325-C4622FFBF631}"/>
          </ac:grpSpMkLst>
        </pc:grpChg>
        <pc:grpChg chg="add mod">
          <ac:chgData name="Salazar, Fernando" userId="b92d49e5-0a1c-4c70-8c6b-3a5860645d1d" providerId="ADAL" clId="{18F0120F-9911-D545-BF77-BC0293A3E42D}" dt="2022-12-19T04:57:14.715" v="2230" actId="1036"/>
          <ac:grpSpMkLst>
            <pc:docMk/>
            <pc:sldMk cId="2044524698" sldId="2141410987"/>
            <ac:grpSpMk id="14" creationId="{B6EC0A6F-9453-86FD-52E9-CD17308A2EE5}"/>
          </ac:grpSpMkLst>
        </pc:grpChg>
        <pc:grpChg chg="add mod">
          <ac:chgData name="Salazar, Fernando" userId="b92d49e5-0a1c-4c70-8c6b-3a5860645d1d" providerId="ADAL" clId="{18F0120F-9911-D545-BF77-BC0293A3E42D}" dt="2022-12-19T04:57:14.715" v="2230" actId="1036"/>
          <ac:grpSpMkLst>
            <pc:docMk/>
            <pc:sldMk cId="2044524698" sldId="2141410987"/>
            <ac:grpSpMk id="17" creationId="{A3FC6924-3E37-FED1-5E55-3E2E9AEDD10F}"/>
          </ac:grpSpMkLst>
        </pc:grpChg>
        <pc:picChg chg="del">
          <ac:chgData name="Salazar, Fernando" userId="b92d49e5-0a1c-4c70-8c6b-3a5860645d1d" providerId="ADAL" clId="{18F0120F-9911-D545-BF77-BC0293A3E42D}" dt="2022-12-19T04:48:42.310" v="1925" actId="478"/>
          <ac:picMkLst>
            <pc:docMk/>
            <pc:sldMk cId="2044524698" sldId="2141410987"/>
            <ac:picMk id="7" creationId="{1A581FB0-8616-5497-E254-17FE668D757C}"/>
          </ac:picMkLst>
        </pc:picChg>
        <pc:picChg chg="del">
          <ac:chgData name="Salazar, Fernando" userId="b92d49e5-0a1c-4c70-8c6b-3a5860645d1d" providerId="ADAL" clId="{18F0120F-9911-D545-BF77-BC0293A3E42D}" dt="2022-12-19T04:48:43.277" v="1926" actId="478"/>
          <ac:picMkLst>
            <pc:docMk/>
            <pc:sldMk cId="2044524698" sldId="2141410987"/>
            <ac:picMk id="8" creationId="{E607DA35-466B-A318-85B6-C8EB6CDD5FE9}"/>
          </ac:picMkLst>
        </pc:picChg>
        <pc:picChg chg="del">
          <ac:chgData name="Salazar, Fernando" userId="b92d49e5-0a1c-4c70-8c6b-3a5860645d1d" providerId="ADAL" clId="{18F0120F-9911-D545-BF77-BC0293A3E42D}" dt="2022-12-19T04:48:44.301" v="1927" actId="478"/>
          <ac:picMkLst>
            <pc:docMk/>
            <pc:sldMk cId="2044524698" sldId="2141410987"/>
            <ac:picMk id="10" creationId="{70911EDE-C248-8EC1-9426-6A9167967E28}"/>
          </ac:picMkLst>
        </pc:picChg>
        <pc:picChg chg="add del mod">
          <ac:chgData name="Salazar, Fernando" userId="b92d49e5-0a1c-4c70-8c6b-3a5860645d1d" providerId="ADAL" clId="{18F0120F-9911-D545-BF77-BC0293A3E42D}" dt="2022-12-19T04:49:36.534" v="1949" actId="478"/>
          <ac:picMkLst>
            <pc:docMk/>
            <pc:sldMk cId="2044524698" sldId="2141410987"/>
            <ac:picMk id="21" creationId="{4194A252-9334-3AEC-55B7-C478D305EDD1}"/>
          </ac:picMkLst>
        </pc:picChg>
        <pc:picChg chg="add del mod">
          <ac:chgData name="Salazar, Fernando" userId="b92d49e5-0a1c-4c70-8c6b-3a5860645d1d" providerId="ADAL" clId="{18F0120F-9911-D545-BF77-BC0293A3E42D}" dt="2022-12-19T04:54:22.773" v="1952" actId="478"/>
          <ac:picMkLst>
            <pc:docMk/>
            <pc:sldMk cId="2044524698" sldId="2141410987"/>
            <ac:picMk id="22" creationId="{5869A8E1-7282-5ECF-B56D-9ED459391AAD}"/>
          </ac:picMkLst>
        </pc:picChg>
        <pc:picChg chg="add mod">
          <ac:chgData name="Salazar, Fernando" userId="b92d49e5-0a1c-4c70-8c6b-3a5860645d1d" providerId="ADAL" clId="{18F0120F-9911-D545-BF77-BC0293A3E42D}" dt="2022-12-19T04:57:41.111" v="2244" actId="1076"/>
          <ac:picMkLst>
            <pc:docMk/>
            <pc:sldMk cId="2044524698" sldId="2141410987"/>
            <ac:picMk id="23" creationId="{3301A0E6-1017-FC0B-B187-26547FAEB5C3}"/>
          </ac:picMkLst>
        </pc:picChg>
        <pc:picChg chg="add mod">
          <ac:chgData name="Salazar, Fernando" userId="b92d49e5-0a1c-4c70-8c6b-3a5860645d1d" providerId="ADAL" clId="{18F0120F-9911-D545-BF77-BC0293A3E42D}" dt="2022-12-19T04:57:41.111" v="2244" actId="1076"/>
          <ac:picMkLst>
            <pc:docMk/>
            <pc:sldMk cId="2044524698" sldId="2141410987"/>
            <ac:picMk id="24" creationId="{BFE5F3BE-2E16-5F77-B417-3ED677992210}"/>
          </ac:picMkLst>
        </pc:picChg>
        <pc:cxnChg chg="mod">
          <ac:chgData name="Salazar, Fernando" userId="b92d49e5-0a1c-4c70-8c6b-3a5860645d1d" providerId="ADAL" clId="{18F0120F-9911-D545-BF77-BC0293A3E42D}" dt="2022-12-19T04:48:59.367" v="1928"/>
          <ac:cxnSpMkLst>
            <pc:docMk/>
            <pc:sldMk cId="2044524698" sldId="2141410987"/>
            <ac:cxnSpMk id="6" creationId="{80D55D24-A4C2-784E-181F-7D7A1ADCB73B}"/>
          </ac:cxnSpMkLst>
        </pc:cxnChg>
        <pc:cxnChg chg="mod">
          <ac:chgData name="Salazar, Fernando" userId="b92d49e5-0a1c-4c70-8c6b-3a5860645d1d" providerId="ADAL" clId="{18F0120F-9911-D545-BF77-BC0293A3E42D}" dt="2022-12-19T04:48:59.367" v="1928"/>
          <ac:cxnSpMkLst>
            <pc:docMk/>
            <pc:sldMk cId="2044524698" sldId="2141410987"/>
            <ac:cxnSpMk id="16" creationId="{68AB89CB-A8C5-E10C-D699-9E53D3225799}"/>
          </ac:cxnSpMkLst>
        </pc:cxnChg>
        <pc:cxnChg chg="mod">
          <ac:chgData name="Salazar, Fernando" userId="b92d49e5-0a1c-4c70-8c6b-3a5860645d1d" providerId="ADAL" clId="{18F0120F-9911-D545-BF77-BC0293A3E42D}" dt="2022-12-19T04:48:59.367" v="1928"/>
          <ac:cxnSpMkLst>
            <pc:docMk/>
            <pc:sldMk cId="2044524698" sldId="2141410987"/>
            <ac:cxnSpMk id="19" creationId="{E5EC1809-FED2-EA27-F503-2AEC1D7D8719}"/>
          </ac:cxnSpMkLst>
        </pc:cxnChg>
      </pc:sldChg>
      <pc:sldChg chg="new del">
        <pc:chgData name="Salazar, Fernando" userId="b92d49e5-0a1c-4c70-8c6b-3a5860645d1d" providerId="ADAL" clId="{18F0120F-9911-D545-BF77-BC0293A3E42D}" dt="2022-12-19T05:06:38.026" v="2929" actId="2696"/>
        <pc:sldMkLst>
          <pc:docMk/>
          <pc:sldMk cId="3249933793" sldId="2141410988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24BB41-1EC8-4AB9-89ED-C7E9F6759074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7F1C2B7-FBE9-4636-8949-05EDB8A9BF4F}">
      <dgm:prSet phldrT="[Text]" phldr="0"/>
      <dgm:spPr/>
      <dgm:t>
        <a:bodyPr/>
        <a:lstStyle/>
        <a:p>
          <a:pPr rtl="0"/>
          <a:r>
            <a:rPr lang="en-US">
              <a:latin typeface="Times New Roman"/>
            </a:rPr>
            <a:t>Business Understanding</a:t>
          </a:r>
          <a:endParaRPr lang="en-US"/>
        </a:p>
      </dgm:t>
    </dgm:pt>
    <dgm:pt modelId="{E22D2B5C-F499-4507-8288-7E5A8363B72A}" type="parTrans" cxnId="{6E69D6DD-1A0D-4EBD-BE11-A5261FFD1211}">
      <dgm:prSet/>
      <dgm:spPr/>
      <dgm:t>
        <a:bodyPr/>
        <a:lstStyle/>
        <a:p>
          <a:endParaRPr lang="en-US"/>
        </a:p>
      </dgm:t>
    </dgm:pt>
    <dgm:pt modelId="{8DA04D09-B240-4513-B425-E97E2028E108}" type="sibTrans" cxnId="{6E69D6DD-1A0D-4EBD-BE11-A5261FFD1211}">
      <dgm:prSet/>
      <dgm:spPr/>
      <dgm:t>
        <a:bodyPr/>
        <a:lstStyle/>
        <a:p>
          <a:endParaRPr lang="en-US"/>
        </a:p>
      </dgm:t>
    </dgm:pt>
    <dgm:pt modelId="{7A03B092-2A96-4CC0-BC66-683F66AE16DC}">
      <dgm:prSet phldrT="[Text]" phldr="0"/>
      <dgm:spPr/>
      <dgm:t>
        <a:bodyPr/>
        <a:lstStyle/>
        <a:p>
          <a:pPr rtl="0"/>
          <a:r>
            <a:rPr lang="en-US">
              <a:latin typeface="Times New Roman"/>
            </a:rPr>
            <a:t>Data Understanding</a:t>
          </a:r>
          <a:endParaRPr lang="en-US"/>
        </a:p>
      </dgm:t>
    </dgm:pt>
    <dgm:pt modelId="{CD3C78DF-1D5C-4D4C-B683-A0EDEE55B7E5}" type="parTrans" cxnId="{006E465F-0352-4F85-82F9-D14C6BB9A503}">
      <dgm:prSet/>
      <dgm:spPr/>
      <dgm:t>
        <a:bodyPr/>
        <a:lstStyle/>
        <a:p>
          <a:endParaRPr lang="en-US"/>
        </a:p>
      </dgm:t>
    </dgm:pt>
    <dgm:pt modelId="{990CA43A-B126-4BBE-9C0C-737E19B396D2}" type="sibTrans" cxnId="{006E465F-0352-4F85-82F9-D14C6BB9A503}">
      <dgm:prSet/>
      <dgm:spPr/>
      <dgm:t>
        <a:bodyPr/>
        <a:lstStyle/>
        <a:p>
          <a:endParaRPr lang="en-US"/>
        </a:p>
      </dgm:t>
    </dgm:pt>
    <dgm:pt modelId="{A79AE7AF-E6DE-42D4-9D20-7BB89E2D12BF}">
      <dgm:prSet phldrT="[Text]" phldr="0"/>
      <dgm:spPr/>
      <dgm:t>
        <a:bodyPr/>
        <a:lstStyle/>
        <a:p>
          <a:pPr rtl="0"/>
          <a:r>
            <a:rPr lang="en-US">
              <a:latin typeface="Times New Roman"/>
            </a:rPr>
            <a:t>Data Preparation</a:t>
          </a:r>
          <a:endParaRPr lang="en-US"/>
        </a:p>
      </dgm:t>
    </dgm:pt>
    <dgm:pt modelId="{675CFD26-0FEE-4BC5-B405-71F8A1604541}" type="parTrans" cxnId="{D701351E-40A2-4D4B-8A76-747B74FEE4C3}">
      <dgm:prSet/>
      <dgm:spPr/>
      <dgm:t>
        <a:bodyPr/>
        <a:lstStyle/>
        <a:p>
          <a:endParaRPr lang="en-US"/>
        </a:p>
      </dgm:t>
    </dgm:pt>
    <dgm:pt modelId="{00C19140-A3AB-4EDD-86C8-E259F6CA605E}" type="sibTrans" cxnId="{D701351E-40A2-4D4B-8A76-747B74FEE4C3}">
      <dgm:prSet/>
      <dgm:spPr/>
      <dgm:t>
        <a:bodyPr/>
        <a:lstStyle/>
        <a:p>
          <a:endParaRPr lang="en-US"/>
        </a:p>
      </dgm:t>
    </dgm:pt>
    <dgm:pt modelId="{73D8AE68-09CA-4395-BAF6-3AD11E47C686}">
      <dgm:prSet phldrT="[Text]" phldr="0"/>
      <dgm:spPr/>
      <dgm:t>
        <a:bodyPr/>
        <a:lstStyle/>
        <a:p>
          <a:r>
            <a:rPr lang="en-US">
              <a:latin typeface="Times New Roman"/>
            </a:rPr>
            <a:t>Modeling</a:t>
          </a:r>
          <a:endParaRPr lang="en-US"/>
        </a:p>
      </dgm:t>
    </dgm:pt>
    <dgm:pt modelId="{C30971E7-F421-4369-A452-65739FDB8C35}" type="parTrans" cxnId="{4E36B595-C897-44F4-8ACF-1277D8E79DA2}">
      <dgm:prSet/>
      <dgm:spPr/>
      <dgm:t>
        <a:bodyPr/>
        <a:lstStyle/>
        <a:p>
          <a:endParaRPr lang="en-US"/>
        </a:p>
      </dgm:t>
    </dgm:pt>
    <dgm:pt modelId="{2F175EB1-4246-4965-AC23-F9EEE4B663EE}" type="sibTrans" cxnId="{4E36B595-C897-44F4-8ACF-1277D8E79DA2}">
      <dgm:prSet/>
      <dgm:spPr/>
      <dgm:t>
        <a:bodyPr/>
        <a:lstStyle/>
        <a:p>
          <a:endParaRPr lang="en-US"/>
        </a:p>
      </dgm:t>
    </dgm:pt>
    <dgm:pt modelId="{C2B13CB8-AD26-4CCB-B779-7A7827A3CC8C}">
      <dgm:prSet phldrT="[Text]" phldr="0"/>
      <dgm:spPr/>
      <dgm:t>
        <a:bodyPr/>
        <a:lstStyle/>
        <a:p>
          <a:pPr rtl="0"/>
          <a:r>
            <a:rPr lang="en-US">
              <a:latin typeface="Times New Roman"/>
            </a:rPr>
            <a:t>Evaluation </a:t>
          </a:r>
          <a:endParaRPr lang="en-US"/>
        </a:p>
      </dgm:t>
    </dgm:pt>
    <dgm:pt modelId="{9823E2D1-6BFA-4446-A6D2-542DAC36A325}" type="parTrans" cxnId="{0A2D618F-F49B-4120-A8C7-3EB223320799}">
      <dgm:prSet/>
      <dgm:spPr/>
      <dgm:t>
        <a:bodyPr/>
        <a:lstStyle/>
        <a:p>
          <a:endParaRPr lang="en-US"/>
        </a:p>
      </dgm:t>
    </dgm:pt>
    <dgm:pt modelId="{80FD9066-A349-4194-959D-CA41D7302F8B}" type="sibTrans" cxnId="{0A2D618F-F49B-4120-A8C7-3EB223320799}">
      <dgm:prSet/>
      <dgm:spPr/>
      <dgm:t>
        <a:bodyPr/>
        <a:lstStyle/>
        <a:p>
          <a:endParaRPr lang="en-US"/>
        </a:p>
      </dgm:t>
    </dgm:pt>
    <dgm:pt modelId="{D4C3EA0D-3C19-4B71-A5E9-C876BED65994}" type="pres">
      <dgm:prSet presAssocID="{C524BB41-1EC8-4AB9-89ED-C7E9F6759074}" presName="cycle" presStyleCnt="0">
        <dgm:presLayoutVars>
          <dgm:dir/>
          <dgm:resizeHandles val="exact"/>
        </dgm:presLayoutVars>
      </dgm:prSet>
      <dgm:spPr/>
    </dgm:pt>
    <dgm:pt modelId="{22720B99-8394-446D-835B-001AF649113D}" type="pres">
      <dgm:prSet presAssocID="{57F1C2B7-FBE9-4636-8949-05EDB8A9BF4F}" presName="node" presStyleLbl="node1" presStyleIdx="0" presStyleCnt="5">
        <dgm:presLayoutVars>
          <dgm:bulletEnabled val="1"/>
        </dgm:presLayoutVars>
      </dgm:prSet>
      <dgm:spPr/>
    </dgm:pt>
    <dgm:pt modelId="{DE23AFD1-4624-421C-B88E-BF2AD503857D}" type="pres">
      <dgm:prSet presAssocID="{57F1C2B7-FBE9-4636-8949-05EDB8A9BF4F}" presName="spNode" presStyleCnt="0"/>
      <dgm:spPr/>
    </dgm:pt>
    <dgm:pt modelId="{41A12AC2-7408-406C-A111-6D44E1DD5DFE}" type="pres">
      <dgm:prSet presAssocID="{8DA04D09-B240-4513-B425-E97E2028E108}" presName="sibTrans" presStyleLbl="sibTrans1D1" presStyleIdx="0" presStyleCnt="5"/>
      <dgm:spPr/>
    </dgm:pt>
    <dgm:pt modelId="{EE548AE1-5A17-4C60-808F-503606C2C3DF}" type="pres">
      <dgm:prSet presAssocID="{7A03B092-2A96-4CC0-BC66-683F66AE16DC}" presName="node" presStyleLbl="node1" presStyleIdx="1" presStyleCnt="5">
        <dgm:presLayoutVars>
          <dgm:bulletEnabled val="1"/>
        </dgm:presLayoutVars>
      </dgm:prSet>
      <dgm:spPr/>
    </dgm:pt>
    <dgm:pt modelId="{8DAC3F12-6384-4AFA-A6F8-25F262D3386D}" type="pres">
      <dgm:prSet presAssocID="{7A03B092-2A96-4CC0-BC66-683F66AE16DC}" presName="spNode" presStyleCnt="0"/>
      <dgm:spPr/>
    </dgm:pt>
    <dgm:pt modelId="{35971AD3-C290-43E8-A65E-CF03A3C63B63}" type="pres">
      <dgm:prSet presAssocID="{990CA43A-B126-4BBE-9C0C-737E19B396D2}" presName="sibTrans" presStyleLbl="sibTrans1D1" presStyleIdx="1" presStyleCnt="5"/>
      <dgm:spPr/>
    </dgm:pt>
    <dgm:pt modelId="{BA899F9D-9EAC-4E06-9194-0A7D9CEF0EC6}" type="pres">
      <dgm:prSet presAssocID="{A79AE7AF-E6DE-42D4-9D20-7BB89E2D12BF}" presName="node" presStyleLbl="node1" presStyleIdx="2" presStyleCnt="5">
        <dgm:presLayoutVars>
          <dgm:bulletEnabled val="1"/>
        </dgm:presLayoutVars>
      </dgm:prSet>
      <dgm:spPr/>
    </dgm:pt>
    <dgm:pt modelId="{768C7DC5-3EBB-482D-9839-99436B3F6FD7}" type="pres">
      <dgm:prSet presAssocID="{A79AE7AF-E6DE-42D4-9D20-7BB89E2D12BF}" presName="spNode" presStyleCnt="0"/>
      <dgm:spPr/>
    </dgm:pt>
    <dgm:pt modelId="{F34B3C62-6D8B-4076-AA08-88033F923D7F}" type="pres">
      <dgm:prSet presAssocID="{00C19140-A3AB-4EDD-86C8-E259F6CA605E}" presName="sibTrans" presStyleLbl="sibTrans1D1" presStyleIdx="2" presStyleCnt="5"/>
      <dgm:spPr/>
    </dgm:pt>
    <dgm:pt modelId="{FBD86AE2-6DAB-49BE-9321-F80521F3ABE2}" type="pres">
      <dgm:prSet presAssocID="{73D8AE68-09CA-4395-BAF6-3AD11E47C686}" presName="node" presStyleLbl="node1" presStyleIdx="3" presStyleCnt="5">
        <dgm:presLayoutVars>
          <dgm:bulletEnabled val="1"/>
        </dgm:presLayoutVars>
      </dgm:prSet>
      <dgm:spPr/>
    </dgm:pt>
    <dgm:pt modelId="{6740FC50-0B8A-48FD-9951-35067D6FD44D}" type="pres">
      <dgm:prSet presAssocID="{73D8AE68-09CA-4395-BAF6-3AD11E47C686}" presName="spNode" presStyleCnt="0"/>
      <dgm:spPr/>
    </dgm:pt>
    <dgm:pt modelId="{33DBF8A3-1611-4557-9E47-17CC27699923}" type="pres">
      <dgm:prSet presAssocID="{2F175EB1-4246-4965-AC23-F9EEE4B663EE}" presName="sibTrans" presStyleLbl="sibTrans1D1" presStyleIdx="3" presStyleCnt="5"/>
      <dgm:spPr/>
    </dgm:pt>
    <dgm:pt modelId="{A16FFCB8-0BF3-4594-B335-10EBA04D578C}" type="pres">
      <dgm:prSet presAssocID="{C2B13CB8-AD26-4CCB-B779-7A7827A3CC8C}" presName="node" presStyleLbl="node1" presStyleIdx="4" presStyleCnt="5">
        <dgm:presLayoutVars>
          <dgm:bulletEnabled val="1"/>
        </dgm:presLayoutVars>
      </dgm:prSet>
      <dgm:spPr/>
    </dgm:pt>
    <dgm:pt modelId="{D4C9A78E-EF77-43E2-9AD0-323D73B2EADC}" type="pres">
      <dgm:prSet presAssocID="{C2B13CB8-AD26-4CCB-B779-7A7827A3CC8C}" presName="spNode" presStyleCnt="0"/>
      <dgm:spPr/>
    </dgm:pt>
    <dgm:pt modelId="{5FDEA159-38DF-4153-8E82-8474FD761A1E}" type="pres">
      <dgm:prSet presAssocID="{80FD9066-A349-4194-959D-CA41D7302F8B}" presName="sibTrans" presStyleLbl="sibTrans1D1" presStyleIdx="4" presStyleCnt="5"/>
      <dgm:spPr/>
    </dgm:pt>
  </dgm:ptLst>
  <dgm:cxnLst>
    <dgm:cxn modelId="{D9FCD901-ADE5-4D61-807B-34D163248C0E}" type="presOf" srcId="{A79AE7AF-E6DE-42D4-9D20-7BB89E2D12BF}" destId="{BA899F9D-9EAC-4E06-9194-0A7D9CEF0EC6}" srcOrd="0" destOrd="0" presId="urn:microsoft.com/office/officeart/2005/8/layout/cycle6"/>
    <dgm:cxn modelId="{D701351E-40A2-4D4B-8A76-747B74FEE4C3}" srcId="{C524BB41-1EC8-4AB9-89ED-C7E9F6759074}" destId="{A79AE7AF-E6DE-42D4-9D20-7BB89E2D12BF}" srcOrd="2" destOrd="0" parTransId="{675CFD26-0FEE-4BC5-B405-71F8A1604541}" sibTransId="{00C19140-A3AB-4EDD-86C8-E259F6CA605E}"/>
    <dgm:cxn modelId="{17D6401E-1550-4F10-A6CB-758064C6CDE5}" type="presOf" srcId="{C2B13CB8-AD26-4CCB-B779-7A7827A3CC8C}" destId="{A16FFCB8-0BF3-4594-B335-10EBA04D578C}" srcOrd="0" destOrd="0" presId="urn:microsoft.com/office/officeart/2005/8/layout/cycle6"/>
    <dgm:cxn modelId="{1A1FCF33-83BC-499F-A5D7-0BD191913023}" type="presOf" srcId="{57F1C2B7-FBE9-4636-8949-05EDB8A9BF4F}" destId="{22720B99-8394-446D-835B-001AF649113D}" srcOrd="0" destOrd="0" presId="urn:microsoft.com/office/officeart/2005/8/layout/cycle6"/>
    <dgm:cxn modelId="{0E195436-DCD4-4699-BA48-9762DAC1DBC0}" type="presOf" srcId="{7A03B092-2A96-4CC0-BC66-683F66AE16DC}" destId="{EE548AE1-5A17-4C60-808F-503606C2C3DF}" srcOrd="0" destOrd="0" presId="urn:microsoft.com/office/officeart/2005/8/layout/cycle6"/>
    <dgm:cxn modelId="{006E465F-0352-4F85-82F9-D14C6BB9A503}" srcId="{C524BB41-1EC8-4AB9-89ED-C7E9F6759074}" destId="{7A03B092-2A96-4CC0-BC66-683F66AE16DC}" srcOrd="1" destOrd="0" parTransId="{CD3C78DF-1D5C-4D4C-B683-A0EDEE55B7E5}" sibTransId="{990CA43A-B126-4BBE-9C0C-737E19B396D2}"/>
    <dgm:cxn modelId="{314A1345-0C70-427C-ABFD-277249D59744}" type="presOf" srcId="{C524BB41-1EC8-4AB9-89ED-C7E9F6759074}" destId="{D4C3EA0D-3C19-4B71-A5E9-C876BED65994}" srcOrd="0" destOrd="0" presId="urn:microsoft.com/office/officeart/2005/8/layout/cycle6"/>
    <dgm:cxn modelId="{6F168F6F-D18A-4911-A90F-12E63D2256B4}" type="presOf" srcId="{990CA43A-B126-4BBE-9C0C-737E19B396D2}" destId="{35971AD3-C290-43E8-A65E-CF03A3C63B63}" srcOrd="0" destOrd="0" presId="urn:microsoft.com/office/officeart/2005/8/layout/cycle6"/>
    <dgm:cxn modelId="{29797C54-8FED-49E6-9CF8-862E387EDA2B}" type="presOf" srcId="{00C19140-A3AB-4EDD-86C8-E259F6CA605E}" destId="{F34B3C62-6D8B-4076-AA08-88033F923D7F}" srcOrd="0" destOrd="0" presId="urn:microsoft.com/office/officeart/2005/8/layout/cycle6"/>
    <dgm:cxn modelId="{23CCD957-5DE0-478B-AE07-12784647641B}" type="presOf" srcId="{73D8AE68-09CA-4395-BAF6-3AD11E47C686}" destId="{FBD86AE2-6DAB-49BE-9321-F80521F3ABE2}" srcOrd="0" destOrd="0" presId="urn:microsoft.com/office/officeart/2005/8/layout/cycle6"/>
    <dgm:cxn modelId="{0A2D618F-F49B-4120-A8C7-3EB223320799}" srcId="{C524BB41-1EC8-4AB9-89ED-C7E9F6759074}" destId="{C2B13CB8-AD26-4CCB-B779-7A7827A3CC8C}" srcOrd="4" destOrd="0" parTransId="{9823E2D1-6BFA-4446-A6D2-542DAC36A325}" sibTransId="{80FD9066-A349-4194-959D-CA41D7302F8B}"/>
    <dgm:cxn modelId="{4E36B595-C897-44F4-8ACF-1277D8E79DA2}" srcId="{C524BB41-1EC8-4AB9-89ED-C7E9F6759074}" destId="{73D8AE68-09CA-4395-BAF6-3AD11E47C686}" srcOrd="3" destOrd="0" parTransId="{C30971E7-F421-4369-A452-65739FDB8C35}" sibTransId="{2F175EB1-4246-4965-AC23-F9EEE4B663EE}"/>
    <dgm:cxn modelId="{F735F5C2-DBE3-4B46-AC32-7CF3848B8583}" type="presOf" srcId="{80FD9066-A349-4194-959D-CA41D7302F8B}" destId="{5FDEA159-38DF-4153-8E82-8474FD761A1E}" srcOrd="0" destOrd="0" presId="urn:microsoft.com/office/officeart/2005/8/layout/cycle6"/>
    <dgm:cxn modelId="{C6D237D5-963C-45C9-82E7-8B81B13904F2}" type="presOf" srcId="{2F175EB1-4246-4965-AC23-F9EEE4B663EE}" destId="{33DBF8A3-1611-4557-9E47-17CC27699923}" srcOrd="0" destOrd="0" presId="urn:microsoft.com/office/officeart/2005/8/layout/cycle6"/>
    <dgm:cxn modelId="{6E69D6DD-1A0D-4EBD-BE11-A5261FFD1211}" srcId="{C524BB41-1EC8-4AB9-89ED-C7E9F6759074}" destId="{57F1C2B7-FBE9-4636-8949-05EDB8A9BF4F}" srcOrd="0" destOrd="0" parTransId="{E22D2B5C-F499-4507-8288-7E5A8363B72A}" sibTransId="{8DA04D09-B240-4513-B425-E97E2028E108}"/>
    <dgm:cxn modelId="{2362CAE7-A08E-4B2D-900A-B6B841BA17BB}" type="presOf" srcId="{8DA04D09-B240-4513-B425-E97E2028E108}" destId="{41A12AC2-7408-406C-A111-6D44E1DD5DFE}" srcOrd="0" destOrd="0" presId="urn:microsoft.com/office/officeart/2005/8/layout/cycle6"/>
    <dgm:cxn modelId="{DE3742ED-0E45-481E-9AFE-E3B41C7F7467}" type="presParOf" srcId="{D4C3EA0D-3C19-4B71-A5E9-C876BED65994}" destId="{22720B99-8394-446D-835B-001AF649113D}" srcOrd="0" destOrd="0" presId="urn:microsoft.com/office/officeart/2005/8/layout/cycle6"/>
    <dgm:cxn modelId="{AD26C1E8-4B62-4759-B5AF-BDE78871917C}" type="presParOf" srcId="{D4C3EA0D-3C19-4B71-A5E9-C876BED65994}" destId="{DE23AFD1-4624-421C-B88E-BF2AD503857D}" srcOrd="1" destOrd="0" presId="urn:microsoft.com/office/officeart/2005/8/layout/cycle6"/>
    <dgm:cxn modelId="{9E16C41E-3254-4299-A1F8-C7B06005E723}" type="presParOf" srcId="{D4C3EA0D-3C19-4B71-A5E9-C876BED65994}" destId="{41A12AC2-7408-406C-A111-6D44E1DD5DFE}" srcOrd="2" destOrd="0" presId="urn:microsoft.com/office/officeart/2005/8/layout/cycle6"/>
    <dgm:cxn modelId="{55D6714B-0BDD-4DDF-A793-75600C944A01}" type="presParOf" srcId="{D4C3EA0D-3C19-4B71-A5E9-C876BED65994}" destId="{EE548AE1-5A17-4C60-808F-503606C2C3DF}" srcOrd="3" destOrd="0" presId="urn:microsoft.com/office/officeart/2005/8/layout/cycle6"/>
    <dgm:cxn modelId="{8C4A1EA0-22A6-4837-8C97-4CBDA69F3449}" type="presParOf" srcId="{D4C3EA0D-3C19-4B71-A5E9-C876BED65994}" destId="{8DAC3F12-6384-4AFA-A6F8-25F262D3386D}" srcOrd="4" destOrd="0" presId="urn:microsoft.com/office/officeart/2005/8/layout/cycle6"/>
    <dgm:cxn modelId="{28C30A5C-EB16-40D3-A715-3065B091507F}" type="presParOf" srcId="{D4C3EA0D-3C19-4B71-A5E9-C876BED65994}" destId="{35971AD3-C290-43E8-A65E-CF03A3C63B63}" srcOrd="5" destOrd="0" presId="urn:microsoft.com/office/officeart/2005/8/layout/cycle6"/>
    <dgm:cxn modelId="{A6EF375C-D759-4866-855F-F0FFE787FE57}" type="presParOf" srcId="{D4C3EA0D-3C19-4B71-A5E9-C876BED65994}" destId="{BA899F9D-9EAC-4E06-9194-0A7D9CEF0EC6}" srcOrd="6" destOrd="0" presId="urn:microsoft.com/office/officeart/2005/8/layout/cycle6"/>
    <dgm:cxn modelId="{8280F442-72F6-4343-BD5D-07300D649325}" type="presParOf" srcId="{D4C3EA0D-3C19-4B71-A5E9-C876BED65994}" destId="{768C7DC5-3EBB-482D-9839-99436B3F6FD7}" srcOrd="7" destOrd="0" presId="urn:microsoft.com/office/officeart/2005/8/layout/cycle6"/>
    <dgm:cxn modelId="{6E7AFC9C-E271-4BF8-A006-FB17D83955EA}" type="presParOf" srcId="{D4C3EA0D-3C19-4B71-A5E9-C876BED65994}" destId="{F34B3C62-6D8B-4076-AA08-88033F923D7F}" srcOrd="8" destOrd="0" presId="urn:microsoft.com/office/officeart/2005/8/layout/cycle6"/>
    <dgm:cxn modelId="{1496A338-BA6A-4E42-84C3-A3FB275320E2}" type="presParOf" srcId="{D4C3EA0D-3C19-4B71-A5E9-C876BED65994}" destId="{FBD86AE2-6DAB-49BE-9321-F80521F3ABE2}" srcOrd="9" destOrd="0" presId="urn:microsoft.com/office/officeart/2005/8/layout/cycle6"/>
    <dgm:cxn modelId="{864F7BC3-ADE2-4C6E-AB16-70BC7F31262A}" type="presParOf" srcId="{D4C3EA0D-3C19-4B71-A5E9-C876BED65994}" destId="{6740FC50-0B8A-48FD-9951-35067D6FD44D}" srcOrd="10" destOrd="0" presId="urn:microsoft.com/office/officeart/2005/8/layout/cycle6"/>
    <dgm:cxn modelId="{CB1F4FE3-C596-4A46-8AB1-619D7254DFB5}" type="presParOf" srcId="{D4C3EA0D-3C19-4B71-A5E9-C876BED65994}" destId="{33DBF8A3-1611-4557-9E47-17CC27699923}" srcOrd="11" destOrd="0" presId="urn:microsoft.com/office/officeart/2005/8/layout/cycle6"/>
    <dgm:cxn modelId="{C39848AC-1D60-4B55-A5B8-31EB13C66545}" type="presParOf" srcId="{D4C3EA0D-3C19-4B71-A5E9-C876BED65994}" destId="{A16FFCB8-0BF3-4594-B335-10EBA04D578C}" srcOrd="12" destOrd="0" presId="urn:microsoft.com/office/officeart/2005/8/layout/cycle6"/>
    <dgm:cxn modelId="{AE3E4500-022F-4581-9E01-F012F1EA5D74}" type="presParOf" srcId="{D4C3EA0D-3C19-4B71-A5E9-C876BED65994}" destId="{D4C9A78E-EF77-43E2-9AD0-323D73B2EADC}" srcOrd="13" destOrd="0" presId="urn:microsoft.com/office/officeart/2005/8/layout/cycle6"/>
    <dgm:cxn modelId="{8C09A766-A466-4424-8686-63EEFA8441C8}" type="presParOf" srcId="{D4C3EA0D-3C19-4B71-A5E9-C876BED65994}" destId="{5FDEA159-38DF-4153-8E82-8474FD761A1E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20B99-8394-446D-835B-001AF649113D}">
      <dsp:nvSpPr>
        <dsp:cNvPr id="0" name=""/>
        <dsp:cNvSpPr/>
      </dsp:nvSpPr>
      <dsp:spPr>
        <a:xfrm>
          <a:off x="2383179" y="2184"/>
          <a:ext cx="1361389" cy="8849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Times New Roman"/>
            </a:rPr>
            <a:t>Business Understanding</a:t>
          </a:r>
          <a:endParaRPr lang="en-US" sz="1500" kern="1200"/>
        </a:p>
      </dsp:txBody>
      <dsp:txXfrm>
        <a:off x="2426376" y="45381"/>
        <a:ext cx="1274995" cy="798509"/>
      </dsp:txXfrm>
    </dsp:sp>
    <dsp:sp modelId="{41A12AC2-7408-406C-A111-6D44E1DD5DFE}">
      <dsp:nvSpPr>
        <dsp:cNvPr id="0" name=""/>
        <dsp:cNvSpPr/>
      </dsp:nvSpPr>
      <dsp:spPr>
        <a:xfrm>
          <a:off x="1296751" y="444636"/>
          <a:ext cx="3534245" cy="3534245"/>
        </a:xfrm>
        <a:custGeom>
          <a:avLst/>
          <a:gdLst/>
          <a:ahLst/>
          <a:cxnLst/>
          <a:rect l="0" t="0" r="0" b="0"/>
          <a:pathLst>
            <a:path>
              <a:moveTo>
                <a:pt x="2457159" y="140293"/>
              </a:moveTo>
              <a:arcTo wR="1767122" hR="1767122" stAng="17579085" swAng="196035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548AE1-5A17-4C60-808F-503606C2C3DF}">
      <dsp:nvSpPr>
        <dsp:cNvPr id="0" name=""/>
        <dsp:cNvSpPr/>
      </dsp:nvSpPr>
      <dsp:spPr>
        <a:xfrm>
          <a:off x="4063813" y="1223236"/>
          <a:ext cx="1361389" cy="8849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Times New Roman"/>
            </a:rPr>
            <a:t>Data Understanding</a:t>
          </a:r>
          <a:endParaRPr lang="en-US" sz="1500" kern="1200"/>
        </a:p>
      </dsp:txBody>
      <dsp:txXfrm>
        <a:off x="4107010" y="1266433"/>
        <a:ext cx="1274995" cy="798509"/>
      </dsp:txXfrm>
    </dsp:sp>
    <dsp:sp modelId="{35971AD3-C290-43E8-A65E-CF03A3C63B63}">
      <dsp:nvSpPr>
        <dsp:cNvPr id="0" name=""/>
        <dsp:cNvSpPr/>
      </dsp:nvSpPr>
      <dsp:spPr>
        <a:xfrm>
          <a:off x="1296751" y="444636"/>
          <a:ext cx="3534245" cy="3534245"/>
        </a:xfrm>
        <a:custGeom>
          <a:avLst/>
          <a:gdLst/>
          <a:ahLst/>
          <a:cxnLst/>
          <a:rect l="0" t="0" r="0" b="0"/>
          <a:pathLst>
            <a:path>
              <a:moveTo>
                <a:pt x="3531832" y="1674794"/>
              </a:moveTo>
              <a:arcTo wR="1767122" hR="1767122" stAng="21420304" swAng="219539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899F9D-9EAC-4E06-9194-0A7D9CEF0EC6}">
      <dsp:nvSpPr>
        <dsp:cNvPr id="0" name=""/>
        <dsp:cNvSpPr/>
      </dsp:nvSpPr>
      <dsp:spPr>
        <a:xfrm>
          <a:off x="3421868" y="3198939"/>
          <a:ext cx="1361389" cy="8849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Times New Roman"/>
            </a:rPr>
            <a:t>Data Preparation</a:t>
          </a:r>
          <a:endParaRPr lang="en-US" sz="1500" kern="1200"/>
        </a:p>
      </dsp:txBody>
      <dsp:txXfrm>
        <a:off x="3465065" y="3242136"/>
        <a:ext cx="1274995" cy="798509"/>
      </dsp:txXfrm>
    </dsp:sp>
    <dsp:sp modelId="{F34B3C62-6D8B-4076-AA08-88033F923D7F}">
      <dsp:nvSpPr>
        <dsp:cNvPr id="0" name=""/>
        <dsp:cNvSpPr/>
      </dsp:nvSpPr>
      <dsp:spPr>
        <a:xfrm>
          <a:off x="1296751" y="444636"/>
          <a:ext cx="3534245" cy="3534245"/>
        </a:xfrm>
        <a:custGeom>
          <a:avLst/>
          <a:gdLst/>
          <a:ahLst/>
          <a:cxnLst/>
          <a:rect l="0" t="0" r="0" b="0"/>
          <a:pathLst>
            <a:path>
              <a:moveTo>
                <a:pt x="2118102" y="3499039"/>
              </a:moveTo>
              <a:arcTo wR="1767122" hR="1767122" stAng="4712636" swAng="137472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D86AE2-6DAB-49BE-9321-F80521F3ABE2}">
      <dsp:nvSpPr>
        <dsp:cNvPr id="0" name=""/>
        <dsp:cNvSpPr/>
      </dsp:nvSpPr>
      <dsp:spPr>
        <a:xfrm>
          <a:off x="1344490" y="3198939"/>
          <a:ext cx="1361389" cy="8849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Times New Roman"/>
            </a:rPr>
            <a:t>Modeling</a:t>
          </a:r>
          <a:endParaRPr lang="en-US" sz="1500" kern="1200"/>
        </a:p>
      </dsp:txBody>
      <dsp:txXfrm>
        <a:off x="1387687" y="3242136"/>
        <a:ext cx="1274995" cy="798509"/>
      </dsp:txXfrm>
    </dsp:sp>
    <dsp:sp modelId="{33DBF8A3-1611-4557-9E47-17CC27699923}">
      <dsp:nvSpPr>
        <dsp:cNvPr id="0" name=""/>
        <dsp:cNvSpPr/>
      </dsp:nvSpPr>
      <dsp:spPr>
        <a:xfrm>
          <a:off x="1296751" y="444636"/>
          <a:ext cx="3534245" cy="3534245"/>
        </a:xfrm>
        <a:custGeom>
          <a:avLst/>
          <a:gdLst/>
          <a:ahLst/>
          <a:cxnLst/>
          <a:rect l="0" t="0" r="0" b="0"/>
          <a:pathLst>
            <a:path>
              <a:moveTo>
                <a:pt x="295162" y="2744903"/>
              </a:moveTo>
              <a:arcTo wR="1767122" hR="1767122" stAng="8784303" swAng="219539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6FFCB8-0BF3-4594-B335-10EBA04D578C}">
      <dsp:nvSpPr>
        <dsp:cNvPr id="0" name=""/>
        <dsp:cNvSpPr/>
      </dsp:nvSpPr>
      <dsp:spPr>
        <a:xfrm>
          <a:off x="702546" y="1223236"/>
          <a:ext cx="1361389" cy="8849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Times New Roman"/>
            </a:rPr>
            <a:t>Evaluation </a:t>
          </a:r>
          <a:endParaRPr lang="en-US" sz="1500" kern="1200"/>
        </a:p>
      </dsp:txBody>
      <dsp:txXfrm>
        <a:off x="745743" y="1266433"/>
        <a:ext cx="1274995" cy="798509"/>
      </dsp:txXfrm>
    </dsp:sp>
    <dsp:sp modelId="{5FDEA159-38DF-4153-8E82-8474FD761A1E}">
      <dsp:nvSpPr>
        <dsp:cNvPr id="0" name=""/>
        <dsp:cNvSpPr/>
      </dsp:nvSpPr>
      <dsp:spPr>
        <a:xfrm>
          <a:off x="1296751" y="444636"/>
          <a:ext cx="3534245" cy="3534245"/>
        </a:xfrm>
        <a:custGeom>
          <a:avLst/>
          <a:gdLst/>
          <a:ahLst/>
          <a:cxnLst/>
          <a:rect l="0" t="0" r="0" b="0"/>
          <a:pathLst>
            <a:path>
              <a:moveTo>
                <a:pt x="308048" y="770215"/>
              </a:moveTo>
              <a:arcTo wR="1767122" hR="1767122" stAng="12860562" swAng="196035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C5467F-F90D-D049-A0FE-10360A28605C}" type="datetimeFigureOut">
              <a:rPr lang="en-US" smtClean="0"/>
              <a:t>12/1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EB2FE-F0C8-9445-9355-171A2613BD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00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FF5EC1-D990-4A47-8B95-D66942DEA2CC}" type="datetimeFigureOut">
              <a:rPr lang="en-US" smtClean="0"/>
              <a:t>12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4002F8-A8DD-5148-A17E-870779EE4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819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DF43276-D0F6-48F0-9D02-D362230F6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" t="2881" r="274"/>
          <a:stretch/>
        </p:blipFill>
        <p:spPr>
          <a:xfrm>
            <a:off x="195072" y="192024"/>
            <a:ext cx="11801856" cy="647395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>
            <a:alphaModFix amt="8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" t="2748" r="138"/>
          <a:stretch/>
        </p:blipFill>
        <p:spPr>
          <a:xfrm>
            <a:off x="196610" y="202294"/>
            <a:ext cx="11798783" cy="64722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193" y="728541"/>
            <a:ext cx="11107615" cy="13255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defRPr sz="5400" b="1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RESENTATION TITLE: ARIAL BOLD, 46-54 PT, WHI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7328" y="2520828"/>
            <a:ext cx="11133056" cy="773112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ctr">
              <a:buNone/>
              <a:defRPr lang="en-US" b="0" i="0" baseline="0" dirty="0">
                <a:solidFill>
                  <a:schemeClr val="bg1"/>
                </a:solidFill>
                <a:latin typeface="+mj-lt"/>
                <a:ea typeface="Times New Roman" charset="0"/>
                <a:cs typeface="Times New Roman" charset="0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/>
              <a:t>Presentation Subtitle: Times New Roman, 28pt, Whit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012069D-8499-4D68-863D-5600B95EA5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81463" y="3427541"/>
            <a:ext cx="3922712" cy="889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660017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01C9F5C-6466-4BC1-99DE-1AF5254E84D9}"/>
              </a:ext>
            </a:extLst>
          </p:cNvPr>
          <p:cNvSpPr/>
          <p:nvPr userDrawn="1"/>
        </p:nvSpPr>
        <p:spPr>
          <a:xfrm>
            <a:off x="195072" y="192024"/>
            <a:ext cx="11801856" cy="6473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280" y="2173014"/>
            <a:ext cx="11254520" cy="1376301"/>
          </a:xfrm>
          <a:prstGeom prst="rect">
            <a:avLst/>
          </a:prstGeom>
        </p:spPr>
        <p:txBody>
          <a:bodyPr lIns="0" rIns="0"/>
          <a:lstStyle>
            <a:lvl1pPr algn="l">
              <a:lnSpc>
                <a:spcPct val="100000"/>
              </a:lnSpc>
              <a:defRPr sz="3600" b="1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ECTION DIVIDER: ARIAL BOLD 36PT, WHIT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2EB127C8-06AA-469B-9A91-2E0C590140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600" b="1" i="0" spc="3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r>
              <a:rPr lang="en-US"/>
              <a:t>HEADER: ARIAL BOLD 16PT, WHIT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CB14E7-1FC0-4AFF-BE8E-7600923BE7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15390" y="3404937"/>
            <a:ext cx="6075947" cy="28635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48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1311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5FE5C0E-6933-4FF9-9518-8B64E5F95C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112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37284D4E-32F8-4E6E-9A6F-0B6D45D0C8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4A5276-7716-49F9-ACC4-15F6C26B0D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3147122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220AEC1-8B39-494A-8EF9-A08FACB7B38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80280" y="2003298"/>
            <a:ext cx="11242614" cy="375306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FE5C0E-6933-4FF9-9518-8B64E5F95C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2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8057A777-2F37-4D55-91A7-B5569C885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EBAFFB-F4E6-443D-907D-5E14D4F4B7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350568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63569A89-403C-42D7-9481-E8158B8E076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20968" y="2003298"/>
            <a:ext cx="5501926" cy="375306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66F03A4-8E23-44E1-9014-B190D190066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7868" y="2003298"/>
            <a:ext cx="5501926" cy="375306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0C4B30-443C-4EEB-8E63-2A591FF6C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2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F11DFA87-6C9F-4AEB-9BB5-9A376D52B0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B2E4D57-7C9C-46BA-A428-879B4C74AA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193887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Slide (Content +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3A179824-626C-47F3-B18E-E3C1D9319AA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20968" y="2750636"/>
            <a:ext cx="5501926" cy="2997021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3EC433FB-918D-4379-A606-C14AD0D5D0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7868" y="2750636"/>
            <a:ext cx="5501926" cy="2997021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98FF8-234B-4726-807C-DC3DEF0929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280" y="2012260"/>
            <a:ext cx="5513832" cy="61318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B31D-8849-47B2-9340-A5762684D6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20968" y="2012260"/>
            <a:ext cx="5513832" cy="61318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8CA5B3-726D-4431-B33D-E549E5A0611E}"/>
              </a:ext>
            </a:extLst>
          </p:cNvPr>
          <p:cNvCxnSpPr>
            <a:cxnSpLocks/>
          </p:cNvCxnSpPr>
          <p:nvPr userDrawn="1"/>
        </p:nvCxnSpPr>
        <p:spPr>
          <a:xfrm>
            <a:off x="6103123" y="2012260"/>
            <a:ext cx="0" cy="373539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7526ABF-4929-4AB5-B4B4-0F953C85D9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384A94C5-EE80-43AC-81DD-5ABA2FFC6E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38BBC51-B2F9-4E09-9829-FC75AB2B08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2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</p:spTree>
    <p:extLst>
      <p:ext uri="{BB962C8B-B14F-4D97-AF65-F5344CB8AC3E}">
        <p14:creationId xmlns:p14="http://schemas.microsoft.com/office/powerpoint/2010/main" val="1614957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Content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E1EBB55A-195B-4571-9D99-7EF1A5A0D464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182684" y="2003297"/>
            <a:ext cx="3552116" cy="3753209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3BD52964-8E05-425B-893F-0B4B3EDD9221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331482" y="2003166"/>
            <a:ext cx="3552116" cy="3753209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C745C101-F1C9-41D6-8517-E4DC3F30EC9E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80280" y="2003298"/>
            <a:ext cx="3552116" cy="375306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30A99F4-489B-4896-A9D3-6BB2474C0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2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652B886-267F-40F1-B08B-C59CA82419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3A50B51-887D-4CF5-A402-5AD0973E4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891493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Header + Content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0">
            <a:extLst>
              <a:ext uri="{FF2B5EF4-FFF2-40B4-BE49-F238E27FC236}">
                <a16:creationId xmlns:a16="http://schemas.microsoft.com/office/drawing/2014/main" id="{50FDBB23-0B16-400B-865A-500D923D15C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182684" y="2737321"/>
            <a:ext cx="3552116" cy="3019175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8B3FA012-8BC4-46AB-96B6-324E99ECF173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331482" y="2737190"/>
            <a:ext cx="3552116" cy="3019175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1CAC31AD-562B-49C2-8679-9F08B18239D1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80280" y="2737190"/>
            <a:ext cx="3552116" cy="3019175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673AF2-4829-4E44-90BE-D70806F54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279" y="2003296"/>
            <a:ext cx="3538728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E3D088A-4B53-4576-88B9-95D2A178A8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0620" y="2003296"/>
            <a:ext cx="3538728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3F0DB93-44C2-47AE-885B-14C8738CBB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7002" y="2003296"/>
            <a:ext cx="3538728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3AE1166-01F3-460B-A317-176D64A8B113}"/>
              </a:ext>
            </a:extLst>
          </p:cNvPr>
          <p:cNvCxnSpPr>
            <a:cxnSpLocks/>
          </p:cNvCxnSpPr>
          <p:nvPr userDrawn="1"/>
        </p:nvCxnSpPr>
        <p:spPr>
          <a:xfrm>
            <a:off x="4174349" y="2003296"/>
            <a:ext cx="0" cy="3753200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2B03B12E-F142-4B4E-8293-12FA52B7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1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685F4E5-37A3-4371-A60D-7DAD27B105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CC998A7-6F33-4483-B388-B7BB5DE989C6}"/>
              </a:ext>
            </a:extLst>
          </p:cNvPr>
          <p:cNvCxnSpPr>
            <a:cxnSpLocks/>
          </p:cNvCxnSpPr>
          <p:nvPr userDrawn="1"/>
        </p:nvCxnSpPr>
        <p:spPr>
          <a:xfrm>
            <a:off x="8029173" y="2003296"/>
            <a:ext cx="0" cy="3753069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EAC6D86-0732-4AFA-B8A5-D4CD28AF1F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3935186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Content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B82DF080-4D8D-43A7-A4B7-A7B734626E7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80280" y="2003300"/>
            <a:ext cx="2531862" cy="375292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E22917DF-1FF4-47DE-B5A4-F3E32B66611A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383695" y="2003300"/>
            <a:ext cx="2531862" cy="375292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id="{A3491189-B49B-4824-A396-E836974B72B2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6287110" y="2003286"/>
            <a:ext cx="2531862" cy="3752941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E6B1674-0523-4AF5-A552-188021AA101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90524" y="2003300"/>
            <a:ext cx="2544276" cy="375306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63E297-AF96-4588-936D-028F52A72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F318953E-51EB-4C13-8C5D-025192B14ED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183EDA3-E50A-41DC-869A-65D0F92624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33516658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Header + Content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EF7E25F5-EE21-4038-9446-C7D227FA805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80280" y="2752779"/>
            <a:ext cx="2531862" cy="299473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Content Placeholder 10">
            <a:extLst>
              <a:ext uri="{FF2B5EF4-FFF2-40B4-BE49-F238E27FC236}">
                <a16:creationId xmlns:a16="http://schemas.microsoft.com/office/drawing/2014/main" id="{438C4C4F-AE7C-4BD7-B740-A8933A19D499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383695" y="2752740"/>
            <a:ext cx="2531862" cy="299477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Content Placeholder 10">
            <a:extLst>
              <a:ext uri="{FF2B5EF4-FFF2-40B4-BE49-F238E27FC236}">
                <a16:creationId xmlns:a16="http://schemas.microsoft.com/office/drawing/2014/main" id="{B1E6C153-DD1A-4E46-BC75-7F0B8D253335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6287110" y="2752740"/>
            <a:ext cx="2531862" cy="299477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C299F0B-24AE-444F-B1EB-04C86C4DC7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90524" y="2752779"/>
            <a:ext cx="2544276" cy="299487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3960C26-E995-4E4B-9CEF-5E03CF7D107F}"/>
              </a:ext>
            </a:extLst>
          </p:cNvPr>
          <p:cNvCxnSpPr>
            <a:cxnSpLocks/>
          </p:cNvCxnSpPr>
          <p:nvPr userDrawn="1"/>
        </p:nvCxnSpPr>
        <p:spPr>
          <a:xfrm>
            <a:off x="3191797" y="2013688"/>
            <a:ext cx="0" cy="373382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51CCEBD-9093-4AFA-A6C9-6726C1913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868" y="2013688"/>
            <a:ext cx="2544273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30B25065-5118-4705-B650-FE45CCE853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1452" y="2013688"/>
            <a:ext cx="2544273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5FD2A9A5-9167-4AAA-89D6-C292B0FB3E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035" y="2013688"/>
            <a:ext cx="2544273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3AE26F6D-0FC5-45E0-ABB4-AAD364D835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78620" y="2013688"/>
            <a:ext cx="2544273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17F4432-8B11-4102-9427-7187B3332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61437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005CF9E-8F32-41EC-82DC-ED725EC3E6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49904B-5188-4B18-9CA7-0E344EA1F631}"/>
              </a:ext>
            </a:extLst>
          </p:cNvPr>
          <p:cNvCxnSpPr>
            <a:cxnSpLocks/>
          </p:cNvCxnSpPr>
          <p:nvPr userDrawn="1"/>
        </p:nvCxnSpPr>
        <p:spPr>
          <a:xfrm>
            <a:off x="6100459" y="2013688"/>
            <a:ext cx="0" cy="373382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3E8768C-925F-473E-BC00-D8A2D1C0F71A}"/>
              </a:ext>
            </a:extLst>
          </p:cNvPr>
          <p:cNvCxnSpPr>
            <a:cxnSpLocks/>
          </p:cNvCxnSpPr>
          <p:nvPr userDrawn="1"/>
        </p:nvCxnSpPr>
        <p:spPr>
          <a:xfrm>
            <a:off x="9000414" y="2013688"/>
            <a:ext cx="0" cy="3733969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4009B35-12BD-4422-9F0F-2AD03EDE4D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1900864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D662EFA-FDB4-4ECD-8E47-185C20551A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5072" y="186660"/>
            <a:ext cx="11801856" cy="6479316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91B017-3538-4F54-9E18-FF8D626AA516}"/>
              </a:ext>
            </a:extLst>
          </p:cNvPr>
          <p:cNvSpPr/>
          <p:nvPr userDrawn="1"/>
        </p:nvSpPr>
        <p:spPr>
          <a:xfrm>
            <a:off x="195072" y="192024"/>
            <a:ext cx="11801856" cy="6473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193" y="728541"/>
            <a:ext cx="11107615" cy="13255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defRPr sz="5400" b="1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RESENTATION TITLE: ARIAL BOLD, 46-54 PT, WHIT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012069D-8499-4D68-863D-5600B95EA5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81463" y="3427541"/>
            <a:ext cx="3922712" cy="889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7328" y="2520828"/>
            <a:ext cx="11133056" cy="773112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ctr">
              <a:buNone/>
              <a:defRPr lang="en-US" b="0" i="0" baseline="0" dirty="0">
                <a:solidFill>
                  <a:schemeClr val="bg1"/>
                </a:solidFill>
                <a:latin typeface="+mj-lt"/>
                <a:ea typeface="Times New Roman" charset="0"/>
                <a:cs typeface="Times New Roman" charset="0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/>
              <a:t>Presentation Subtitle: Times New Roman, 28pt, White</a:t>
            </a:r>
          </a:p>
        </p:txBody>
      </p:sp>
    </p:spTree>
    <p:extLst>
      <p:ext uri="{BB962C8B-B14F-4D97-AF65-F5344CB8AC3E}">
        <p14:creationId xmlns:p14="http://schemas.microsoft.com/office/powerpoint/2010/main" val="6814924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Slide (Image - Right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F49162AF-0CF5-4A7B-9DCE-A11AEB11E4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0280" y="2003166"/>
            <a:ext cx="5501926" cy="3753070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15C0FB5-78BD-4722-B1D8-823F39390F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1413" y="2003296"/>
            <a:ext cx="5513387" cy="37530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1" i="0">
                <a:solidFill>
                  <a:srgbClr val="E77324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61E2425-CA04-4698-91A0-8B04E7847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1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E2D2518-5A06-40D2-952F-1C119EEFE6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DFE61E1-A0AF-4615-9E56-CE8A909807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319648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Slide (Image - Left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391345A8-5BD4-421A-8DF8-EF0F6C9B07F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0968" y="2003296"/>
            <a:ext cx="5501926" cy="3753070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15C0FB5-78BD-4722-B1D8-823F39390F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0280" y="2003426"/>
            <a:ext cx="5513387" cy="37530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1" i="0">
                <a:solidFill>
                  <a:srgbClr val="E77324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11E5C80-586E-4086-82CE-BB9B42332A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1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B0C7E61C-B93D-4DBD-9D53-471F58E09F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492B3C-0D0F-4575-9321-7C3A120E2A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1143963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D42C4DE-E7BC-4D93-A4F3-BA7EAF45AE43}"/>
              </a:ext>
            </a:extLst>
          </p:cNvPr>
          <p:cNvSpPr/>
          <p:nvPr userDrawn="1"/>
        </p:nvSpPr>
        <p:spPr>
          <a:xfrm>
            <a:off x="8806641" y="0"/>
            <a:ext cx="338535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FB626A8-3E58-4DE7-B4DF-DBE03BAB57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190" y="2457737"/>
            <a:ext cx="7819415" cy="51435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chemeClr val="accent1"/>
                </a:solidFill>
                <a:latin typeface="+mj-lt"/>
                <a:ea typeface="Times New Roman" charset="0"/>
                <a:cs typeface="Times New Roman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r>
              <a:rPr lang="en-US"/>
              <a:t>Subtitle: Times New Roman 24pt, Rotunda Orang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2F3113-C9F5-4CFC-8102-0B4EF122CD46}"/>
              </a:ext>
            </a:extLst>
          </p:cNvPr>
          <p:cNvCxnSpPr/>
          <p:nvPr userDrawn="1"/>
        </p:nvCxnSpPr>
        <p:spPr>
          <a:xfrm flipH="1">
            <a:off x="575979" y="6549313"/>
            <a:ext cx="11040043" cy="0"/>
          </a:xfrm>
          <a:prstGeom prst="line">
            <a:avLst/>
          </a:prstGeom>
          <a:ln w="9525" cmpd="sng">
            <a:solidFill>
              <a:srgbClr val="E773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AF422F8-1635-44A9-B254-7747991105CE}"/>
              </a:ext>
            </a:extLst>
          </p:cNvPr>
          <p:cNvSpPr txBox="1"/>
          <p:nvPr userDrawn="1"/>
        </p:nvSpPr>
        <p:spPr>
          <a:xfrm>
            <a:off x="11616728" y="6394475"/>
            <a:ext cx="527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9FC1F18A-2504-464E-BC8E-062F35221589}" type="slidenum">
              <a:rPr lang="en-US" sz="1200" b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14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F0C764-1D98-40E3-A111-DE5522034615}"/>
              </a:ext>
            </a:extLst>
          </p:cNvPr>
          <p:cNvCxnSpPr/>
          <p:nvPr userDrawn="1"/>
        </p:nvCxnSpPr>
        <p:spPr>
          <a:xfrm flipH="1">
            <a:off x="8806641" y="6549313"/>
            <a:ext cx="2809382" cy="0"/>
          </a:xfrm>
          <a:prstGeom prst="line">
            <a:avLst/>
          </a:prstGeom>
          <a:ln w="952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F449DD3-4B7D-4D13-A4F0-8C3B89BC25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7807325" cy="317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290CA12-E134-4761-B69E-19950E629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189" y="756243"/>
            <a:ext cx="7819415" cy="158078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DC64CD-58DD-4B30-96BA-C2969D64D0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190" y="3762341"/>
            <a:ext cx="7819415" cy="224296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Text: Arial Bold 16pt, Jefferson Blue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33C34FF2-DB43-45F6-99EE-4FF60CE03A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72587" y="318031"/>
            <a:ext cx="2462213" cy="568727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00" b="1" i="0" cap="all" spc="3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Font typeface="Arial" charset="0"/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APTION:</a:t>
            </a:r>
            <a:br>
              <a:rPr lang="en-US"/>
            </a:br>
            <a:r>
              <a:rPr lang="en-US"/>
              <a:t>ARIAL BOLD 16PT, WHI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57FD7D-78F9-4192-99FF-2ACA81B47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6972" y="6402162"/>
            <a:ext cx="260228" cy="26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599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BC7206C-7D2B-4584-9073-6E84C1D99851}"/>
              </a:ext>
            </a:extLst>
          </p:cNvPr>
          <p:cNvSpPr/>
          <p:nvPr userDrawn="1"/>
        </p:nvSpPr>
        <p:spPr>
          <a:xfrm>
            <a:off x="8806641" y="0"/>
            <a:ext cx="3385359" cy="685800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638951-733B-4674-B244-606C9AA47039}"/>
              </a:ext>
            </a:extLst>
          </p:cNvPr>
          <p:cNvCxnSpPr/>
          <p:nvPr userDrawn="1"/>
        </p:nvCxnSpPr>
        <p:spPr>
          <a:xfrm flipH="1">
            <a:off x="575979" y="6549313"/>
            <a:ext cx="11040043" cy="0"/>
          </a:xfrm>
          <a:prstGeom prst="line">
            <a:avLst/>
          </a:prstGeom>
          <a:ln w="9525" cmpd="sng">
            <a:solidFill>
              <a:srgbClr val="E773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D5D815E-664E-4F2D-ACF3-B229DACC1B1F}"/>
              </a:ext>
            </a:extLst>
          </p:cNvPr>
          <p:cNvCxnSpPr/>
          <p:nvPr userDrawn="1"/>
        </p:nvCxnSpPr>
        <p:spPr>
          <a:xfrm flipH="1">
            <a:off x="8806641" y="6549313"/>
            <a:ext cx="2809382" cy="0"/>
          </a:xfrm>
          <a:prstGeom prst="line">
            <a:avLst/>
          </a:prstGeom>
          <a:ln w="9525" cmpd="sng">
            <a:solidFill>
              <a:srgbClr val="E773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A73C713-BFE8-48C1-8F20-FC9777626348}"/>
              </a:ext>
            </a:extLst>
          </p:cNvPr>
          <p:cNvSpPr txBox="1"/>
          <p:nvPr userDrawn="1"/>
        </p:nvSpPr>
        <p:spPr>
          <a:xfrm>
            <a:off x="11616728" y="6394475"/>
            <a:ext cx="527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9FC1F18A-2504-464E-BC8E-062F35221589}" type="slidenum">
              <a:rPr lang="en-US" sz="1200" b="1" smtClean="0">
                <a:solidFill>
                  <a:srgbClr val="E77324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1400" b="1">
              <a:solidFill>
                <a:srgbClr val="E7732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82123647-D293-4871-B258-B3C557B500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190" y="2457737"/>
            <a:ext cx="7819415" cy="51435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chemeClr val="accent1"/>
                </a:solidFill>
                <a:latin typeface="+mj-lt"/>
                <a:ea typeface="Times New Roman" charset="0"/>
                <a:cs typeface="Times New Roman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r>
              <a:rPr lang="en-US"/>
              <a:t>Subtitle: Times New Roman 24pt, Rotunda Orang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79A776A1-0A26-45B0-8942-A915834588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7807325" cy="317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57220FDE-52E1-4318-B138-0CD09D573E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190" y="3762341"/>
            <a:ext cx="7819415" cy="224296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Text: Arial Bold 16pt, Jefferson Blue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6E9C218E-8B98-4FA8-9356-86D384D19F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72587" y="318031"/>
            <a:ext cx="2462213" cy="568727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00" b="1" i="0" cap="all" spc="3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Font typeface="Arial" charset="0"/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APTION:</a:t>
            </a:r>
            <a:br>
              <a:rPr lang="en-US"/>
            </a:br>
            <a:r>
              <a:rPr lang="en-US"/>
              <a:t>ARIAL BOLD 16PT, WHIT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6FB88F06-BA5C-4680-BC9A-3F2C8DB821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189" y="756243"/>
            <a:ext cx="7819415" cy="158078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 </a:t>
            </a:r>
            <a:br>
              <a:rPr lang="en-US"/>
            </a:b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F5BF6D1-4FCD-4C6D-A852-54B92566B3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6972" y="6402162"/>
            <a:ext cx="260228" cy="26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7486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BC7206C-7D2B-4584-9073-6E84C1D99851}"/>
              </a:ext>
            </a:extLst>
          </p:cNvPr>
          <p:cNvSpPr/>
          <p:nvPr userDrawn="1"/>
        </p:nvSpPr>
        <p:spPr>
          <a:xfrm>
            <a:off x="8806641" y="0"/>
            <a:ext cx="3385359" cy="685800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638951-733B-4674-B244-606C9AA47039}"/>
              </a:ext>
            </a:extLst>
          </p:cNvPr>
          <p:cNvCxnSpPr/>
          <p:nvPr userDrawn="1"/>
        </p:nvCxnSpPr>
        <p:spPr>
          <a:xfrm flipH="1">
            <a:off x="575979" y="6549313"/>
            <a:ext cx="11040043" cy="0"/>
          </a:xfrm>
          <a:prstGeom prst="line">
            <a:avLst/>
          </a:prstGeom>
          <a:ln w="9525" cmpd="sng">
            <a:solidFill>
              <a:srgbClr val="E773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D5D815E-664E-4F2D-ACF3-B229DACC1B1F}"/>
              </a:ext>
            </a:extLst>
          </p:cNvPr>
          <p:cNvCxnSpPr/>
          <p:nvPr userDrawn="1"/>
        </p:nvCxnSpPr>
        <p:spPr>
          <a:xfrm flipH="1">
            <a:off x="8806641" y="6549313"/>
            <a:ext cx="2809382" cy="0"/>
          </a:xfrm>
          <a:prstGeom prst="line">
            <a:avLst/>
          </a:prstGeom>
          <a:ln w="9525" cmpd="sng">
            <a:solidFill>
              <a:srgbClr val="E773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A73C713-BFE8-48C1-8F20-FC9777626348}"/>
              </a:ext>
            </a:extLst>
          </p:cNvPr>
          <p:cNvSpPr txBox="1"/>
          <p:nvPr userDrawn="1"/>
        </p:nvSpPr>
        <p:spPr>
          <a:xfrm>
            <a:off x="11616728" y="6394475"/>
            <a:ext cx="527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9FC1F18A-2504-464E-BC8E-062F35221589}" type="slidenum">
              <a:rPr lang="en-US" sz="1200" b="1" smtClean="0">
                <a:solidFill>
                  <a:srgbClr val="E77324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1400" b="1">
              <a:solidFill>
                <a:srgbClr val="E7732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66CDD921-1E04-4CEA-A9BA-889246A111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190" y="2457737"/>
            <a:ext cx="7819415" cy="51435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chemeClr val="accent1"/>
                </a:solidFill>
                <a:latin typeface="+mj-lt"/>
                <a:ea typeface="Times New Roman" charset="0"/>
                <a:cs typeface="Times New Roman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 smtClean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r>
              <a:rPr lang="en-US"/>
              <a:t>Subtitle: Times New Roman 24pt, Rotunda Orang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F14F8D2-169F-45EE-81E1-1579186FF3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7807325" cy="317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D86F0D2-9080-4AFD-9F05-996384B481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72587" y="318031"/>
            <a:ext cx="2462213" cy="570113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00" b="1" i="0" cap="all" spc="3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Font typeface="Arial" charset="0"/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600" b="1" i="0" spc="3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APTION:</a:t>
            </a:r>
            <a:br>
              <a:rPr lang="en-US"/>
            </a:br>
            <a:r>
              <a:rPr lang="en-US"/>
              <a:t>ARIAL BOLD 16PT, WHIT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9BE5C64D-EF94-449B-AB4B-F9543A7B36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189" y="3776196"/>
            <a:ext cx="7819416" cy="224296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Arial" charset="0"/>
              <a:buChar char="•"/>
              <a:defRPr sz="1800" b="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Bullet 1: Arial Bold 18pt, Jefferson Blue</a:t>
            </a:r>
          </a:p>
          <a:p>
            <a:pPr lvl="0"/>
            <a:r>
              <a:rPr lang="en-US"/>
              <a:t>Bullet 2</a:t>
            </a:r>
          </a:p>
          <a:p>
            <a:pPr lvl="0"/>
            <a:r>
              <a:rPr lang="en-US"/>
              <a:t>Bullet 3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DE7E869-44E1-4AE6-A166-F6CCA2275A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189" y="756243"/>
            <a:ext cx="7819415" cy="158078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1528B2-5F79-46DB-BAC5-5F3D3B48DA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6972" y="6402162"/>
            <a:ext cx="260228" cy="26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6093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+ Header and content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3EC433FB-918D-4379-A606-C14AD0D5D0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7868" y="2750636"/>
            <a:ext cx="5501926" cy="2997021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98FF8-234B-4726-807C-DC3DEF0929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280" y="2012260"/>
            <a:ext cx="5513832" cy="61318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8CA5B3-726D-4431-B33D-E549E5A0611E}"/>
              </a:ext>
            </a:extLst>
          </p:cNvPr>
          <p:cNvCxnSpPr>
            <a:cxnSpLocks/>
          </p:cNvCxnSpPr>
          <p:nvPr userDrawn="1"/>
        </p:nvCxnSpPr>
        <p:spPr>
          <a:xfrm>
            <a:off x="6103123" y="2012260"/>
            <a:ext cx="0" cy="373539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918FDC5B-0376-402B-80DD-1DBEF1B20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6072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7526ABF-4929-4AB5-B4B4-0F953C85D9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E884EA84-D9CC-4410-88D0-2C404167362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20968" y="3927566"/>
            <a:ext cx="5501926" cy="1820091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BFE5C024-47EE-4923-91BB-48521FE5EFF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20968" y="2012841"/>
            <a:ext cx="5501926" cy="1820092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47C116B-FEE0-4168-B6D1-6B56AD77E3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39414174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+ Header and content/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6FDA6119-0E8B-40BA-B011-0B5C245140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20968" y="2008133"/>
            <a:ext cx="5501926" cy="3748233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0B3B89A-F141-4B0A-957E-508C148925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7868" y="2636899"/>
            <a:ext cx="5513832" cy="1133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None/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98FF8-234B-4726-807C-DC3DEF0929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280" y="2008133"/>
            <a:ext cx="5513832" cy="495617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8CA5B3-726D-4431-B33D-E549E5A0611E}"/>
              </a:ext>
            </a:extLst>
          </p:cNvPr>
          <p:cNvCxnSpPr>
            <a:cxnSpLocks/>
          </p:cNvCxnSpPr>
          <p:nvPr userDrawn="1"/>
        </p:nvCxnSpPr>
        <p:spPr>
          <a:xfrm>
            <a:off x="6103123" y="2008133"/>
            <a:ext cx="0" cy="3753682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19B4FA8-CEAC-4D32-BB3F-772A77968B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0280" y="4000045"/>
            <a:ext cx="5513832" cy="495617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D0FB048-6124-4260-8CDD-ED63BC19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8660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FFC376D-4095-4DEB-82B8-6AA45A91F4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280" y="4628811"/>
            <a:ext cx="5513832" cy="1133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None/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35C8D2E-1C91-4855-BF47-40BCF17D94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72582A4-A838-4551-AB9C-DC40EA2E1A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5190894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Content +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60E99266-89CD-42E1-AED5-1CAA3960598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20968" y="1995987"/>
            <a:ext cx="5501926" cy="181463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6DA12905-9F29-45AE-89B8-901E59B5B7D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80280" y="1996117"/>
            <a:ext cx="5501926" cy="181463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8CA5B3-726D-4431-B33D-E549E5A0611E}"/>
              </a:ext>
            </a:extLst>
          </p:cNvPr>
          <p:cNvCxnSpPr>
            <a:cxnSpLocks/>
          </p:cNvCxnSpPr>
          <p:nvPr userDrawn="1"/>
        </p:nvCxnSpPr>
        <p:spPr>
          <a:xfrm>
            <a:off x="6103123" y="1995987"/>
            <a:ext cx="0" cy="3760379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19B4FA8-CEAC-4D32-BB3F-772A77968B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0280" y="3932542"/>
            <a:ext cx="5513832" cy="510662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2259392-4D6A-4A66-AE71-BE095F50B9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4547" y="3932542"/>
            <a:ext cx="5513832" cy="510662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AFD8115-39F6-46CE-B8C0-E095465213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2586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175E500-C6C4-4766-B9C6-8E6D570E0A6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0572641-1645-4E24-AB9B-46CC5A46C7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0280" y="4565123"/>
            <a:ext cx="5513832" cy="1191243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None/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0C43664-BD02-411E-8039-767099D1D2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0968" y="4565123"/>
            <a:ext cx="5513832" cy="1191243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None/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45599B9-C44F-46F7-AAF7-2BDC471501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467937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Content, Header +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4876CA2E-4D4F-480E-A677-4EFFBF55DD6B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480280" y="1988672"/>
            <a:ext cx="3538728" cy="1948827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49A4B1D0-B7EB-419C-8DA0-A96D943A2E64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336666" y="1988672"/>
            <a:ext cx="3538728" cy="1948827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D04609A6-2572-42DB-A206-7801CD0AA93E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196072" y="1988672"/>
            <a:ext cx="3538728" cy="1948827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3AE1166-01F3-460B-A317-176D64A8B113}"/>
              </a:ext>
            </a:extLst>
          </p:cNvPr>
          <p:cNvCxnSpPr>
            <a:cxnSpLocks/>
          </p:cNvCxnSpPr>
          <p:nvPr userDrawn="1"/>
        </p:nvCxnSpPr>
        <p:spPr>
          <a:xfrm>
            <a:off x="4174349" y="1988673"/>
            <a:ext cx="0" cy="3776213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4239F94-D356-4678-84E8-AEA05621DE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280" y="4742328"/>
            <a:ext cx="3538728" cy="102255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624FD54-3E58-4787-998D-996C56B452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0280" y="4054611"/>
            <a:ext cx="3538728" cy="570606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6C81B529-DDD4-4C77-A7E8-6BC3DA3AA5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36666" y="4742328"/>
            <a:ext cx="3538728" cy="102255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986364E-DCDC-49A2-90F7-E5B8235875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36666" y="4054611"/>
            <a:ext cx="3538728" cy="570606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3312962-9EF3-4A27-BE6D-C054A788D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96072" y="4742328"/>
            <a:ext cx="3538728" cy="1022558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B08C683-1CE9-4946-90AA-381EE30A77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96072" y="4054611"/>
            <a:ext cx="3538728" cy="570606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DD18E6E3-6DD2-4367-86D8-F58334139A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48929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524F1C73-DA80-4EC1-B03C-E9538556DE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6750F7F-1F5A-4CA1-AFFA-636557E949C4}"/>
              </a:ext>
            </a:extLst>
          </p:cNvPr>
          <p:cNvCxnSpPr>
            <a:cxnSpLocks/>
          </p:cNvCxnSpPr>
          <p:nvPr userDrawn="1"/>
        </p:nvCxnSpPr>
        <p:spPr>
          <a:xfrm>
            <a:off x="8040955" y="1988673"/>
            <a:ext cx="0" cy="3776213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2BF87821-E5D5-4430-BACF-2DD42F89AE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9314882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Text + Header,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6A835EC0-BDEE-41B7-A3BC-021A50435144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80280" y="1988671"/>
            <a:ext cx="11254520" cy="1900977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3AE1166-01F3-460B-A317-176D64A8B113}"/>
              </a:ext>
            </a:extLst>
          </p:cNvPr>
          <p:cNvCxnSpPr>
            <a:cxnSpLocks/>
          </p:cNvCxnSpPr>
          <p:nvPr userDrawn="1"/>
        </p:nvCxnSpPr>
        <p:spPr>
          <a:xfrm>
            <a:off x="4174349" y="4010658"/>
            <a:ext cx="0" cy="1750423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D92F8C-D5F2-41AB-869D-75D5D30BD5AB}"/>
              </a:ext>
            </a:extLst>
          </p:cNvPr>
          <p:cNvCxnSpPr>
            <a:cxnSpLocks/>
          </p:cNvCxnSpPr>
          <p:nvPr userDrawn="1"/>
        </p:nvCxnSpPr>
        <p:spPr>
          <a:xfrm>
            <a:off x="8037710" y="4010658"/>
            <a:ext cx="0" cy="1750423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4239F94-D356-4678-84E8-AEA05621DEE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0280" y="4681056"/>
            <a:ext cx="3538728" cy="1083830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624FD54-3E58-4787-998D-996C56B45260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80280" y="4033176"/>
            <a:ext cx="3538728" cy="526871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6C81B529-DDD4-4C77-A7E8-6BC3DA3AA533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336666" y="4677251"/>
            <a:ext cx="3538728" cy="1083830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986364E-DCDC-49A2-90F7-E5B823587598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336666" y="4033176"/>
            <a:ext cx="3538728" cy="526871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3312962-9EF3-4A27-BE6D-C054A788DC00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8196072" y="4677251"/>
            <a:ext cx="3538728" cy="1083830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B08C683-1CE9-4946-90AA-381EE30A778E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196072" y="4033176"/>
            <a:ext cx="3538728" cy="526871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27A8961-1679-4AA9-8033-E5CF8D162B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48929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D3950B3-BD6B-431F-85C0-0838ADECC2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7503B1E-14B9-49C5-9BCE-CD593B6B33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600554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4DCDC95-EB0A-4B34-958D-C9E2CBD8B3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7165" y="2979868"/>
            <a:ext cx="3383280" cy="8003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200" b="1">
                <a:solidFill>
                  <a:srgbClr val="232D4B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A6D101-3ABB-4368-810F-A424A16B8373}"/>
              </a:ext>
            </a:extLst>
          </p:cNvPr>
          <p:cNvCxnSpPr/>
          <p:nvPr userDrawn="1"/>
        </p:nvCxnSpPr>
        <p:spPr>
          <a:xfrm>
            <a:off x="471444" y="2892150"/>
            <a:ext cx="0" cy="32519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3FD3BA9-630D-4626-8036-B7C17FE2FDA7}"/>
              </a:ext>
            </a:extLst>
          </p:cNvPr>
          <p:cNvCxnSpPr/>
          <p:nvPr userDrawn="1"/>
        </p:nvCxnSpPr>
        <p:spPr>
          <a:xfrm>
            <a:off x="4226162" y="2892150"/>
            <a:ext cx="0" cy="32519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2FC82F8-7562-40A8-B73C-426D5B61C4A4}"/>
              </a:ext>
            </a:extLst>
          </p:cNvPr>
          <p:cNvCxnSpPr/>
          <p:nvPr userDrawn="1"/>
        </p:nvCxnSpPr>
        <p:spPr>
          <a:xfrm>
            <a:off x="7980880" y="2892150"/>
            <a:ext cx="0" cy="32519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BB9AE06-F806-4577-A36F-841E591F72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7163" y="3845859"/>
            <a:ext cx="3383280" cy="7451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800" b="1" cap="all" spc="300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pPr lvl="0"/>
            <a:r>
              <a:rPr lang="en-US"/>
              <a:t>Section </a:t>
            </a:r>
            <a:r>
              <a:rPr lang="en-US" err="1"/>
              <a:t>HEade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6DD713D-827A-49D1-AB97-8425D82521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1879" y="3845859"/>
            <a:ext cx="3383280" cy="7451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800" b="1" cap="all" spc="300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pPr lvl="0"/>
            <a:r>
              <a:rPr lang="en-US"/>
              <a:t>Section </a:t>
            </a:r>
            <a:r>
              <a:rPr lang="en-US" err="1"/>
              <a:t>HEader</a:t>
            </a:r>
            <a:endParaRPr lang="en-US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1BDC6547-7D66-4391-8B4F-9E845059D3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6599" y="3850237"/>
            <a:ext cx="3383280" cy="7451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800" b="1" cap="all" spc="300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pPr lvl="0"/>
            <a:r>
              <a:rPr lang="en-US"/>
              <a:t>Section </a:t>
            </a:r>
            <a:r>
              <a:rPr lang="en-US" err="1"/>
              <a:t>HEader</a:t>
            </a:r>
            <a:endParaRPr lang="en-US"/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2386B0C1-198B-4E80-82BB-802DE008FA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165" y="4656697"/>
            <a:ext cx="3383280" cy="7036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r>
              <a:rPr lang="en-US">
                <a:solidFill>
                  <a:srgbClr val="E77324"/>
                </a:solidFill>
              </a:rPr>
              <a:t>Subsection Title:</a:t>
            </a:r>
          </a:p>
          <a:p>
            <a:r>
              <a:rPr lang="en-US">
                <a:solidFill>
                  <a:srgbClr val="E77324"/>
                </a:solidFill>
              </a:rPr>
              <a:t>Arial Bold 14pt, Rotunda Orange</a:t>
            </a:r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E2B240EB-CAE3-43D1-9547-1BBEC05E5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1881" y="4656697"/>
            <a:ext cx="3383280" cy="7036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r>
              <a:rPr lang="en-US">
                <a:solidFill>
                  <a:srgbClr val="E77324"/>
                </a:solidFill>
              </a:rPr>
              <a:t>Subsection Title:</a:t>
            </a:r>
          </a:p>
          <a:p>
            <a:r>
              <a:rPr lang="en-US">
                <a:solidFill>
                  <a:srgbClr val="E77324"/>
                </a:solidFill>
              </a:rPr>
              <a:t>Arial Bold 14pt, Rotunda Orang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0EBB5183-35E7-4474-82A7-D44BFB291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6601" y="4661075"/>
            <a:ext cx="3383280" cy="7036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r>
              <a:rPr lang="en-US">
                <a:solidFill>
                  <a:srgbClr val="E77324"/>
                </a:solidFill>
              </a:rPr>
              <a:t>Subsection Title:</a:t>
            </a:r>
          </a:p>
          <a:p>
            <a:r>
              <a:rPr lang="en-US">
                <a:solidFill>
                  <a:srgbClr val="E77324"/>
                </a:solidFill>
              </a:rPr>
              <a:t>Arial Bold 14pt, Rotunda Orang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F172F92-CC0D-4635-9B88-B1B783391C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320866"/>
            <a:ext cx="11277600" cy="595313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40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>
                <a:solidFill>
                  <a:srgbClr val="E77324"/>
                </a:solidFill>
              </a:rPr>
              <a:t>Caption: Times New Roman 24pt, Rotunda</a:t>
            </a:r>
            <a:r>
              <a:rPr lang="en-US" baseline="0">
                <a:solidFill>
                  <a:srgbClr val="E77324"/>
                </a:solidFill>
              </a:rPr>
              <a:t> Orange</a:t>
            </a:r>
            <a:endParaRPr lang="en-US">
              <a:solidFill>
                <a:srgbClr val="E77324"/>
              </a:solidFill>
            </a:endParaRP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8EB02873-6E83-4188-9DD0-8F72BA41AB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1881" y="2979868"/>
            <a:ext cx="3383280" cy="8003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200" b="1">
                <a:solidFill>
                  <a:srgbClr val="232D4B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9C892A1-AC4C-464D-8966-F29E53C289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66599" y="2979868"/>
            <a:ext cx="3383280" cy="8003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200" b="1">
                <a:solidFill>
                  <a:srgbClr val="232D4B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754629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adrants (Header + Content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F15F3BA2-45C7-4A36-B221-1B7F1E77894A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80280" y="4598126"/>
            <a:ext cx="5525007" cy="1163669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88C74319-CC34-4337-825A-92E302E23EE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20968" y="2565754"/>
            <a:ext cx="5525007" cy="1163669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10">
            <a:extLst>
              <a:ext uri="{FF2B5EF4-FFF2-40B4-BE49-F238E27FC236}">
                <a16:creationId xmlns:a16="http://schemas.microsoft.com/office/drawing/2014/main" id="{FD2D1F9E-F0F7-465A-A0E0-F15675F3BB5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80280" y="2565754"/>
            <a:ext cx="5525007" cy="1163669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id="{5B0610DC-F651-4E9D-AA58-C4D972CDAE4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0967" y="4598126"/>
            <a:ext cx="5525007" cy="1163669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98FF8-234B-4726-807C-DC3DEF0929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20968" y="1981082"/>
            <a:ext cx="5513832" cy="470044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8CA5B3-726D-4431-B33D-E549E5A0611E}"/>
              </a:ext>
            </a:extLst>
          </p:cNvPr>
          <p:cNvCxnSpPr>
            <a:cxnSpLocks/>
          </p:cNvCxnSpPr>
          <p:nvPr userDrawn="1"/>
        </p:nvCxnSpPr>
        <p:spPr>
          <a:xfrm>
            <a:off x="6103123" y="1968137"/>
            <a:ext cx="0" cy="3793658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114201F-C377-42D3-BE03-33D9A9D07A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0968" y="4019666"/>
            <a:ext cx="5513832" cy="470044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49691C3-F909-4CAD-9D25-24FBA60D08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280" y="1978670"/>
            <a:ext cx="5513832" cy="470044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14077EF-A09B-45FF-8C0D-AB9F1216B68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280" y="4019666"/>
            <a:ext cx="5513832" cy="470044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36213F6-782F-4970-9F30-BE64B146D6CE}"/>
              </a:ext>
            </a:extLst>
          </p:cNvPr>
          <p:cNvCxnSpPr>
            <a:cxnSpLocks/>
          </p:cNvCxnSpPr>
          <p:nvPr userDrawn="1"/>
        </p:nvCxnSpPr>
        <p:spPr>
          <a:xfrm flipV="1">
            <a:off x="469107" y="3862802"/>
            <a:ext cx="5525007" cy="1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B4562B0-BF76-483D-A5D5-A008865B5897}"/>
              </a:ext>
            </a:extLst>
          </p:cNvPr>
          <p:cNvCxnSpPr>
            <a:cxnSpLocks/>
          </p:cNvCxnSpPr>
          <p:nvPr userDrawn="1"/>
        </p:nvCxnSpPr>
        <p:spPr>
          <a:xfrm flipV="1">
            <a:off x="6220968" y="3862802"/>
            <a:ext cx="5525007" cy="1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EBC670E-2C84-403A-9A13-3E1469B79F8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DF60AE1-AA6F-4E1C-AAF2-6A6AAFE2CD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4DD34F1-6DC7-4211-8A90-141EE6DE8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</p:spTree>
    <p:extLst>
      <p:ext uri="{BB962C8B-B14F-4D97-AF65-F5344CB8AC3E}">
        <p14:creationId xmlns:p14="http://schemas.microsoft.com/office/powerpoint/2010/main" val="37411638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(Header +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56596E42-0C9D-4BD6-8095-E6FB5AE023D0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20968" y="2740076"/>
            <a:ext cx="5501926" cy="3016290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EA9C62EE-F93C-488D-8A08-6D139EEBB72B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80280" y="1990793"/>
            <a:ext cx="5501926" cy="1828567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9AF39B24-9328-4566-9B3E-6374B1EDA34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80280" y="3927566"/>
            <a:ext cx="5501926" cy="1828567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98FF8-234B-4726-807C-DC3DEF0929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20968" y="2004740"/>
            <a:ext cx="5513832" cy="61318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20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8CA5B3-726D-4431-B33D-E549E5A0611E}"/>
              </a:ext>
            </a:extLst>
          </p:cNvPr>
          <p:cNvCxnSpPr>
            <a:cxnSpLocks/>
          </p:cNvCxnSpPr>
          <p:nvPr userDrawn="1"/>
        </p:nvCxnSpPr>
        <p:spPr>
          <a:xfrm>
            <a:off x="6103123" y="2004740"/>
            <a:ext cx="0" cy="3751626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CC43F45F-DA69-418D-BC8D-3A85AB0BC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E0A17331-6959-4C20-B15C-D2E6B452F47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DF8DEC1-B180-45C0-9543-B9D5114115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2621375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adrants (Content/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DE2AA2A0-E7EA-4FD5-962D-056C08E8EE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, 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70A66B1A-F970-4C95-B2BD-75B3213A7C2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80280" y="1999810"/>
            <a:ext cx="5501926" cy="1802674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C4064E3E-B847-438E-9DFD-3EB7351E6041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80280" y="3954540"/>
            <a:ext cx="5501926" cy="1802674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A58FEC7-9835-43A3-A8DC-EE105A02AF8D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232874" y="1999810"/>
            <a:ext cx="5501926" cy="1802674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F7BCD53A-2FC5-4E20-BDD8-A69107CF47F9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232874" y="3954540"/>
            <a:ext cx="5501926" cy="1802674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: Arial Bold 18pt, Jefferson Blu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9972BD0-28CC-4121-9A6E-B96D8B6A56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537F157-30DA-4BDA-88E4-BE827BD168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3537734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30AFFB-80E2-48A3-81FD-04E98C12375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69900" y="3562350"/>
            <a:ext cx="1994900" cy="635000"/>
          </a:xfrm>
          <a:prstGeom prst="homePlat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3CD70DA-C059-4221-AF4D-FAA1ABA5C86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20768" y="3562350"/>
            <a:ext cx="1988026" cy="635000"/>
          </a:xfrm>
          <a:prstGeom prst="chevron">
            <a:avLst/>
          </a:prstGeom>
          <a:solidFill>
            <a:srgbClr val="232D4B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1A454E0B-6573-4B07-979D-E4C0555B2AA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171636" y="3562350"/>
            <a:ext cx="1988026" cy="635000"/>
          </a:xfrm>
          <a:prstGeom prst="chevron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6A2E6FF-3C5F-4CD7-A73E-F9B428C22CA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43454" y="3562350"/>
            <a:ext cx="1988026" cy="635000"/>
          </a:xfrm>
          <a:prstGeom prst="chevron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1E4774E-D358-4C16-BC12-D14B08CD7D5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885430" y="3562350"/>
            <a:ext cx="1988026" cy="635000"/>
          </a:xfrm>
          <a:prstGeom prst="chevron">
            <a:avLst/>
          </a:prstGeo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B2969F00-7D70-467D-A015-3AC758D3822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728844" y="3562350"/>
            <a:ext cx="1988026" cy="635000"/>
          </a:xfrm>
          <a:prstGeom prst="chevron">
            <a:avLst/>
          </a:prstGeo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FDED25F-2678-4866-B2AA-36CB7264A8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A80BE552-DFD1-4828-8A45-C9B9EDE107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3CEBE07-B170-4797-98D0-C4E833939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65C0B353-2EBA-458B-83BD-C2E71A3767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8372" y="4840307"/>
            <a:ext cx="2563906" cy="86125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4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4pt, Jefferson Blu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3149D84-5DD3-45AB-A726-54BE2A6E711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41346" y="2582199"/>
            <a:ext cx="2563906" cy="861256"/>
          </a:xfrm>
          <a:prstGeom prst="rect">
            <a:avLst/>
          </a:prstGeom>
        </p:spPr>
        <p:txBody>
          <a:bodyPr lIns="0" rIns="0"/>
          <a:lstStyle>
            <a:lvl1pPr marL="283464" indent="-283464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4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4pt, Jefferson Blu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30CCA8FF-F4C5-499C-9490-DF423538C9E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93728" y="4840307"/>
            <a:ext cx="2563906" cy="86125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4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4pt, Jefferson Blu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E173BAE8-891C-4FF3-8118-159796EB0A3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364031" y="2590934"/>
            <a:ext cx="2563906" cy="861256"/>
          </a:xfrm>
          <a:prstGeom prst="rect">
            <a:avLst/>
          </a:prstGeom>
        </p:spPr>
        <p:txBody>
          <a:bodyPr lIns="0" rIns="0"/>
          <a:lstStyle>
            <a:lvl1pPr marL="283464" indent="-283464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4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4pt, Jefferson Blu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A985E0E-685A-4A9A-99BF-B28F106769D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07521" y="4840307"/>
            <a:ext cx="2563906" cy="861256"/>
          </a:xfrm>
          <a:prstGeom prst="rect">
            <a:avLst/>
          </a:prstGeom>
        </p:spPr>
        <p:txBody>
          <a:bodyPr lIns="0" rIns="0"/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4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4pt, Jefferson Blu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3523ECA-B71B-4D04-98C6-2B1E396B94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49420" y="2590934"/>
            <a:ext cx="2563906" cy="861256"/>
          </a:xfrm>
          <a:prstGeom prst="rect">
            <a:avLst/>
          </a:prstGeom>
        </p:spPr>
        <p:txBody>
          <a:bodyPr lIns="0" rIns="0"/>
          <a:lstStyle>
            <a:lvl1pPr marL="283464" indent="-283464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400">
                <a:solidFill>
                  <a:srgbClr val="232D4B"/>
                </a:solidFill>
                <a:latin typeface="+mn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First level Bullet: Arial Bold 14pt, Jefferson Blu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6F0F4B7-4518-4C2B-8344-559079CBD6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1346" y="2059310"/>
            <a:ext cx="2563906" cy="417171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6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16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208C104-61B6-40AC-B506-FB3360F829B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64031" y="2068045"/>
            <a:ext cx="2563906" cy="417171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6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16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D5F362E-CFE7-407A-AAEE-EA86818FBCA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049420" y="2068045"/>
            <a:ext cx="2563906" cy="417171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6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16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45C47A2-C08C-415C-9883-2CC4626ABB4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598372" y="4305652"/>
            <a:ext cx="2563906" cy="417171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6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16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391802F6-9C5C-4A7C-9FA7-1F0ECCF77A1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296670" y="4305652"/>
            <a:ext cx="2563906" cy="417171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6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16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9E72A73A-1330-4857-A7D9-F47CA88C59A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005528" y="4305652"/>
            <a:ext cx="2563906" cy="417171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600" b="1">
                <a:solidFill>
                  <a:srgbClr val="232D4B"/>
                </a:solidFill>
                <a:latin typeface="+mj-lt"/>
              </a:defRPr>
            </a:lvl1pPr>
            <a:lvl2pPr marL="283464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3pPr>
            <a:lvl4pPr marL="81381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None/>
              <a:defRPr sz="1800">
                <a:solidFill>
                  <a:srgbClr val="1E3A74"/>
                </a:solidFill>
              </a:defRPr>
            </a:lvl4pPr>
            <a:lvl5pPr marL="108813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>
                <a:solidFill>
                  <a:srgbClr val="1E3A74"/>
                </a:solidFill>
              </a:defRPr>
            </a:lvl5pPr>
          </a:lstStyle>
          <a:p>
            <a:pPr lvl="0"/>
            <a:r>
              <a:rPr lang="en-US"/>
              <a:t>Header: Times New Roman Bold 16 </a:t>
            </a:r>
            <a:r>
              <a:rPr lang="en-US" err="1"/>
              <a:t>pt</a:t>
            </a:r>
            <a:r>
              <a:rPr lang="en-US"/>
              <a:t>, Jefferson Blue</a:t>
            </a:r>
          </a:p>
        </p:txBody>
      </p:sp>
    </p:spTree>
    <p:extLst>
      <p:ext uri="{BB962C8B-B14F-4D97-AF65-F5344CB8AC3E}">
        <p14:creationId xmlns:p14="http://schemas.microsoft.com/office/powerpoint/2010/main" val="12054820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re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5676694-07D0-42B7-BF97-A01B108023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280" y="2880400"/>
            <a:ext cx="3540209" cy="2000921"/>
          </a:xfrm>
          <a:prstGeom prst="rect">
            <a:avLst/>
          </a:prstGeom>
          <a:solidFill>
            <a:schemeClr val="accent1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E325565-578F-4AAC-BE7A-199ECCB03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37689" y="2880400"/>
            <a:ext cx="3540209" cy="2000921"/>
          </a:xfrm>
          <a:prstGeom prst="rect">
            <a:avLst/>
          </a:prstGeom>
          <a:solidFill>
            <a:srgbClr val="232D4B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8D5E1EF-5C58-41B3-BAE3-5918B052D0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95097" y="2880399"/>
            <a:ext cx="3540209" cy="2000921"/>
          </a:xfrm>
          <a:prstGeom prst="rect">
            <a:avLst/>
          </a:prstGeom>
          <a:solidFill>
            <a:schemeClr val="accent3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48AC104B-D1BF-41F6-9DCA-B3A6FD7BCBA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39CEFA-D72D-46C0-8B74-42AEB23DC3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0200662-B38E-4D16-B422-6C88C77CAB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</p:spTree>
    <p:extLst>
      <p:ext uri="{BB962C8B-B14F-4D97-AF65-F5344CB8AC3E}">
        <p14:creationId xmlns:p14="http://schemas.microsoft.com/office/powerpoint/2010/main" val="13100334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ore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0FF5820-35BD-42DC-B117-54E4ED595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280" y="2013689"/>
            <a:ext cx="3540209" cy="1782854"/>
          </a:xfrm>
          <a:prstGeom prst="rect">
            <a:avLst/>
          </a:prstGeom>
          <a:solidFill>
            <a:schemeClr val="accent1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B49EB0F-A677-49BC-9FD5-114DB20B14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37689" y="2013689"/>
            <a:ext cx="3540209" cy="1782854"/>
          </a:xfrm>
          <a:prstGeom prst="rect">
            <a:avLst/>
          </a:prstGeom>
          <a:solidFill>
            <a:srgbClr val="232D4B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79D6308-A9C2-4AED-A34F-697C74C0FF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95097" y="2013688"/>
            <a:ext cx="3540209" cy="1782854"/>
          </a:xfrm>
          <a:prstGeom prst="rect">
            <a:avLst/>
          </a:prstGeom>
          <a:solidFill>
            <a:schemeClr val="accent3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F91F0B20-C5A3-4496-89D8-D84E5AC636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0280" y="3969525"/>
            <a:ext cx="3540209" cy="1782854"/>
          </a:xfrm>
          <a:prstGeom prst="rect">
            <a:avLst/>
          </a:prstGeom>
          <a:solidFill>
            <a:schemeClr val="accent4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6B08FA4-0994-4BD2-BCC3-3C22B097529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7689" y="3969525"/>
            <a:ext cx="3540209" cy="1782854"/>
          </a:xfrm>
          <a:prstGeom prst="rect">
            <a:avLst/>
          </a:prstGeom>
          <a:solidFill>
            <a:schemeClr val="accent5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B60B3AD-3E15-4EA6-943B-DC5B327289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95097" y="3969524"/>
            <a:ext cx="3540209" cy="1782854"/>
          </a:xfrm>
          <a:prstGeom prst="rect">
            <a:avLst/>
          </a:prstGeom>
          <a:solidFill>
            <a:schemeClr val="accent6"/>
          </a:solidFill>
        </p:spPr>
        <p:txBody>
          <a:bodyPr lIns="0"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buFont typeface="Arial" panose="020B0604020202020204" pitchFamily="34" charset="0"/>
              <a:buChar char="-"/>
              <a:defRPr sz="1800">
                <a:solidFill>
                  <a:srgbClr val="1E3A74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E77324"/>
              </a:buClr>
              <a:defRPr sz="1800">
                <a:solidFill>
                  <a:srgbClr val="1E3A74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0A3DEF2-2650-4F37-AAA6-64CE655C034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62C40F8-27C4-46D8-8EE7-A4D48C0A0E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48C5106-27C9-4883-AFEC-A990365EC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</p:spTree>
    <p:extLst>
      <p:ext uri="{BB962C8B-B14F-4D97-AF65-F5344CB8AC3E}">
        <p14:creationId xmlns:p14="http://schemas.microsoft.com/office/powerpoint/2010/main" val="30437051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">
            <a:extLst>
              <a:ext uri="{FF2B5EF4-FFF2-40B4-BE49-F238E27FC236}">
                <a16:creationId xmlns:a16="http://schemas.microsoft.com/office/drawing/2014/main" id="{5EB8183A-D7F0-42E9-B20A-10F69D794D8E}"/>
              </a:ext>
            </a:extLst>
          </p:cNvPr>
          <p:cNvSpPr/>
          <p:nvPr userDrawn="1"/>
        </p:nvSpPr>
        <p:spPr>
          <a:xfrm>
            <a:off x="5047275" y="2112957"/>
            <a:ext cx="2109357" cy="1163692"/>
          </a:xfrm>
          <a:custGeom>
            <a:avLst/>
            <a:gdLst>
              <a:gd name="connsiteX0" fmla="*/ 0 w 2098523"/>
              <a:gd name="connsiteY0" fmla="*/ 1786466 h 1786466"/>
              <a:gd name="connsiteX1" fmla="*/ 1049262 w 2098523"/>
              <a:gd name="connsiteY1" fmla="*/ 0 h 1786466"/>
              <a:gd name="connsiteX2" fmla="*/ 1049262 w 2098523"/>
              <a:gd name="connsiteY2" fmla="*/ 0 h 1786466"/>
              <a:gd name="connsiteX3" fmla="*/ 2098523 w 2098523"/>
              <a:gd name="connsiteY3" fmla="*/ 1786466 h 1786466"/>
              <a:gd name="connsiteX4" fmla="*/ 0 w 2098523"/>
              <a:gd name="connsiteY4" fmla="*/ 1786466 h 178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8523" h="1786466">
                <a:moveTo>
                  <a:pt x="0" y="1786466"/>
                </a:moveTo>
                <a:lnTo>
                  <a:pt x="1049262" y="0"/>
                </a:lnTo>
                <a:lnTo>
                  <a:pt x="1049262" y="0"/>
                </a:lnTo>
                <a:lnTo>
                  <a:pt x="2098523" y="1786466"/>
                </a:lnTo>
                <a:lnTo>
                  <a:pt x="0" y="1786466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marL="0" lvl="0" indent="0" algn="ctr" defTabSz="28003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endParaRPr lang="en-US" sz="6600" kern="1200">
              <a:latin typeface="+mn-lt"/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5F5B2345-FEEE-4EC1-8585-C97CDFA84E88}"/>
              </a:ext>
            </a:extLst>
          </p:cNvPr>
          <p:cNvSpPr/>
          <p:nvPr userDrawn="1"/>
        </p:nvSpPr>
        <p:spPr>
          <a:xfrm>
            <a:off x="3992596" y="3323524"/>
            <a:ext cx="4218714" cy="1163692"/>
          </a:xfrm>
          <a:custGeom>
            <a:avLst/>
            <a:gdLst>
              <a:gd name="connsiteX0" fmla="*/ 0 w 4197047"/>
              <a:gd name="connsiteY0" fmla="*/ 1786466 h 1786466"/>
              <a:gd name="connsiteX1" fmla="*/ 1049263 w 4197047"/>
              <a:gd name="connsiteY1" fmla="*/ 0 h 1786466"/>
              <a:gd name="connsiteX2" fmla="*/ 3147784 w 4197047"/>
              <a:gd name="connsiteY2" fmla="*/ 0 h 1786466"/>
              <a:gd name="connsiteX3" fmla="*/ 4197047 w 4197047"/>
              <a:gd name="connsiteY3" fmla="*/ 1786466 h 1786466"/>
              <a:gd name="connsiteX4" fmla="*/ 0 w 4197047"/>
              <a:gd name="connsiteY4" fmla="*/ 1786466 h 178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7047" h="1786466">
                <a:moveTo>
                  <a:pt x="0" y="1786466"/>
                </a:moveTo>
                <a:lnTo>
                  <a:pt x="1049263" y="0"/>
                </a:lnTo>
                <a:lnTo>
                  <a:pt x="3147784" y="0"/>
                </a:lnTo>
                <a:lnTo>
                  <a:pt x="4197047" y="1786466"/>
                </a:lnTo>
                <a:lnTo>
                  <a:pt x="0" y="1786466"/>
                </a:lnTo>
                <a:close/>
              </a:path>
            </a:pathLst>
          </a:custGeom>
          <a:solidFill>
            <a:srgbClr val="232D4B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7034" tIns="82550" rIns="817033" bIns="82550" numCol="1" spcCol="1270" anchor="ctr" anchorCtr="0">
            <a:noAutofit/>
          </a:bodyPr>
          <a:lstStyle/>
          <a:p>
            <a:pPr marL="0" lvl="0" indent="0" algn="ctr" defTabSz="28892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endParaRPr lang="en-US" sz="6600" kern="1200">
              <a:latin typeface="+mn-lt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7A03E5DC-0664-402B-8509-75F2FBC8FF90}"/>
              </a:ext>
            </a:extLst>
          </p:cNvPr>
          <p:cNvSpPr/>
          <p:nvPr userDrawn="1"/>
        </p:nvSpPr>
        <p:spPr>
          <a:xfrm>
            <a:off x="2937917" y="4534091"/>
            <a:ext cx="6328072" cy="1098704"/>
          </a:xfrm>
          <a:custGeom>
            <a:avLst/>
            <a:gdLst>
              <a:gd name="connsiteX0" fmla="*/ 0 w 6295571"/>
              <a:gd name="connsiteY0" fmla="*/ 1786466 h 1786466"/>
              <a:gd name="connsiteX1" fmla="*/ 1049263 w 6295571"/>
              <a:gd name="connsiteY1" fmla="*/ 0 h 1786466"/>
              <a:gd name="connsiteX2" fmla="*/ 5246308 w 6295571"/>
              <a:gd name="connsiteY2" fmla="*/ 0 h 1786466"/>
              <a:gd name="connsiteX3" fmla="*/ 6295571 w 6295571"/>
              <a:gd name="connsiteY3" fmla="*/ 1786466 h 1786466"/>
              <a:gd name="connsiteX4" fmla="*/ 0 w 6295571"/>
              <a:gd name="connsiteY4" fmla="*/ 1786466 h 178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5571" h="1786466">
                <a:moveTo>
                  <a:pt x="0" y="1786466"/>
                </a:moveTo>
                <a:lnTo>
                  <a:pt x="1049263" y="0"/>
                </a:lnTo>
                <a:lnTo>
                  <a:pt x="5246308" y="0"/>
                </a:lnTo>
                <a:lnTo>
                  <a:pt x="6295571" y="1786466"/>
                </a:lnTo>
                <a:lnTo>
                  <a:pt x="0" y="1786466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84274" tIns="82550" rIns="1184276" bIns="82550" numCol="1" spcCol="1270" anchor="ctr" anchorCtr="0">
            <a:noAutofit/>
          </a:bodyPr>
          <a:lstStyle/>
          <a:p>
            <a:pPr marL="0" lvl="0" indent="0" algn="ctr" defTabSz="28892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endParaRPr lang="en-US" sz="6600" kern="1200">
              <a:latin typeface="+mn-lt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0DD9E1-E605-4835-8FCC-EA4080C2F3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4091" y="2545404"/>
            <a:ext cx="1355725" cy="62001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8C1E420-30E8-4DE7-A977-12BC63D31D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66860" y="3534702"/>
            <a:ext cx="2870186" cy="72571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B153F79-ED92-48DC-91FB-99C3431447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69746" y="4703183"/>
            <a:ext cx="4864415" cy="72571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BBA021D-74E4-4C6D-9936-764C9EF71B7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435007C-4D28-4E5E-9B6C-DBA98BA628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99F68E9-DBC1-43BA-90C7-E09934B8FC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</p:spTree>
    <p:extLst>
      <p:ext uri="{BB962C8B-B14F-4D97-AF65-F5344CB8AC3E}">
        <p14:creationId xmlns:p14="http://schemas.microsoft.com/office/powerpoint/2010/main" val="41844460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12A725D3-68FA-491A-98C4-E8796FB99726}"/>
              </a:ext>
            </a:extLst>
          </p:cNvPr>
          <p:cNvSpPr/>
          <p:nvPr userDrawn="1"/>
        </p:nvSpPr>
        <p:spPr>
          <a:xfrm>
            <a:off x="3852948" y="2944800"/>
            <a:ext cx="1881050" cy="1881050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B52771F-9A79-4B62-941E-BB368889CAA2}"/>
              </a:ext>
            </a:extLst>
          </p:cNvPr>
          <p:cNvSpPr/>
          <p:nvPr userDrawn="1"/>
        </p:nvSpPr>
        <p:spPr>
          <a:xfrm>
            <a:off x="6458003" y="2944800"/>
            <a:ext cx="1881050" cy="1881050"/>
          </a:xfrm>
          <a:prstGeom prst="ellipse">
            <a:avLst/>
          </a:prstGeom>
          <a:solidFill>
            <a:srgbClr val="232D4B">
              <a:alpha val="9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AE001B-1EDA-4386-8A35-1DDDA4E7C19B}"/>
              </a:ext>
            </a:extLst>
          </p:cNvPr>
          <p:cNvSpPr/>
          <p:nvPr userDrawn="1"/>
        </p:nvSpPr>
        <p:spPr>
          <a:xfrm>
            <a:off x="5155476" y="3921952"/>
            <a:ext cx="1881050" cy="1881050"/>
          </a:xfrm>
          <a:prstGeom prst="ellipse">
            <a:avLst/>
          </a:prstGeom>
          <a:solidFill>
            <a:schemeClr val="accent3">
              <a:alpha val="9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9B8175B-2811-406E-8F31-8E4CEE9DE3ED}"/>
              </a:ext>
            </a:extLst>
          </p:cNvPr>
          <p:cNvSpPr/>
          <p:nvPr userDrawn="1"/>
        </p:nvSpPr>
        <p:spPr>
          <a:xfrm>
            <a:off x="5155476" y="1967647"/>
            <a:ext cx="1881050" cy="1881050"/>
          </a:xfrm>
          <a:prstGeom prst="ellipse">
            <a:avLst/>
          </a:prstGeom>
          <a:solidFill>
            <a:schemeClr val="accent6">
              <a:alpha val="9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6AE90D1-6E48-4889-977A-59841FC33F0C}"/>
              </a:ext>
            </a:extLst>
          </p:cNvPr>
          <p:cNvSpPr/>
          <p:nvPr/>
        </p:nvSpPr>
        <p:spPr>
          <a:xfrm>
            <a:off x="5451574" y="3214356"/>
            <a:ext cx="1288854" cy="1288852"/>
          </a:xfrm>
          <a:prstGeom prst="ellipse">
            <a:avLst/>
          </a:prstGeom>
          <a:solidFill>
            <a:schemeClr val="accent1"/>
          </a:solidFill>
          <a:ln>
            <a:prstDash val="sys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21" name="Oval 4">
            <a:extLst>
              <a:ext uri="{FF2B5EF4-FFF2-40B4-BE49-F238E27FC236}">
                <a16:creationId xmlns:a16="http://schemas.microsoft.com/office/drawing/2014/main" id="{99D03806-1089-4550-BABA-9EB2CA15ED9D}"/>
              </a:ext>
            </a:extLst>
          </p:cNvPr>
          <p:cNvSpPr/>
          <p:nvPr/>
        </p:nvSpPr>
        <p:spPr>
          <a:xfrm>
            <a:off x="5542082" y="3337170"/>
            <a:ext cx="495713" cy="991425"/>
          </a:xfrm>
          <a:prstGeom prst="rect">
            <a:avLst/>
          </a:prstGeom>
          <a:ln>
            <a:prstDash val="sys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kern="1200">
                <a:latin typeface="+mn-lt"/>
              </a:rPr>
              <a:t>       </a:t>
            </a:r>
          </a:p>
        </p:txBody>
      </p:sp>
      <p:sp>
        <p:nvSpPr>
          <p:cNvPr id="23" name="Text Placeholder 25">
            <a:extLst>
              <a:ext uri="{FF2B5EF4-FFF2-40B4-BE49-F238E27FC236}">
                <a16:creationId xmlns:a16="http://schemas.microsoft.com/office/drawing/2014/main" id="{50DDFADD-526E-4FA8-A247-7D797190F13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351012" y="2492655"/>
            <a:ext cx="1489978" cy="42340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31">
            <a:extLst>
              <a:ext uri="{FF2B5EF4-FFF2-40B4-BE49-F238E27FC236}">
                <a16:creationId xmlns:a16="http://schemas.microsoft.com/office/drawing/2014/main" id="{5C31FEF3-AABA-4F16-9070-E492B9E7474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486465" y="3639359"/>
            <a:ext cx="1219072" cy="43884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baseline="0">
                <a:solidFill>
                  <a:schemeClr val="bg1"/>
                </a:solidFill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CD686EF8-DE8E-4535-9A77-2E52F547D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5319" y="3647898"/>
            <a:ext cx="1489978" cy="42340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71F37308-A632-4381-BBE8-68B11C163B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61596" y="3638861"/>
            <a:ext cx="1489978" cy="42340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2F0C2502-174B-4C13-BAA3-0E0821139A7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51012" y="4854591"/>
            <a:ext cx="1489978" cy="42340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FD212E6-EC93-485E-BD3E-E19D568BAEF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0CFC8AA-5428-4F74-87CF-4CB6D015A1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B4377B7-186F-4DDA-B083-DBE6112DF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</p:spTree>
    <p:extLst>
      <p:ext uri="{BB962C8B-B14F-4D97-AF65-F5344CB8AC3E}">
        <p14:creationId xmlns:p14="http://schemas.microsoft.com/office/powerpoint/2010/main" val="2675216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ED3DEFA-1F09-4627-8C1A-4FCC72543CA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35639" y="4780652"/>
            <a:ext cx="3787253" cy="98021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2101355-23B2-4624-B4D9-B0558E997C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35640" y="2435471"/>
            <a:ext cx="3787253" cy="98021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F383ADF-9C58-4AD7-8314-7E7F0A2E20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8625" y="4780652"/>
            <a:ext cx="3787253" cy="98021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82296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178A9A2D-3C84-4B27-9B3F-114D7AC12AB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98625" y="2435471"/>
            <a:ext cx="3787253" cy="98021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83464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rgbClr val="232D4B"/>
                </a:solidFill>
                <a:latin typeface="+mn-lt"/>
              </a:defRPr>
            </a:lvl1pPr>
            <a:lvl2pPr marL="566928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rgbClr val="232D4B"/>
                </a:solidFill>
                <a:latin typeface="+mn-lt"/>
              </a:defRPr>
            </a:lvl2pPr>
            <a:lvl3pPr marL="539496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None/>
              <a:defRPr sz="1800">
                <a:solidFill>
                  <a:schemeClr val="accent2"/>
                </a:solidFill>
              </a:defRPr>
            </a:lvl3pPr>
            <a:lvl4pPr marL="109728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accent2"/>
                </a:solidFill>
              </a:defRPr>
            </a:lvl4pPr>
            <a:lvl5pPr marL="1371600" indent="-283464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42">
            <a:extLst>
              <a:ext uri="{FF2B5EF4-FFF2-40B4-BE49-F238E27FC236}">
                <a16:creationId xmlns:a16="http://schemas.microsoft.com/office/drawing/2014/main" id="{680BF721-DE48-4EC3-AFCA-A3E0F2456A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97806" y="2016370"/>
            <a:ext cx="3797385" cy="317139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Text Placeholder 42">
            <a:extLst>
              <a:ext uri="{FF2B5EF4-FFF2-40B4-BE49-F238E27FC236}">
                <a16:creationId xmlns:a16="http://schemas.microsoft.com/office/drawing/2014/main" id="{D06874A9-B315-4E8C-A13B-CC9E02E8D8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98625" y="4355924"/>
            <a:ext cx="3797385" cy="317139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376A74F3-2FE5-4E4C-8193-E1430E78642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4693" y="2016370"/>
            <a:ext cx="1406930" cy="1404938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1EB4CD19-8D63-4D92-9E63-4202C5CC2A3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16947" y="2016370"/>
            <a:ext cx="1406930" cy="1404938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226059DE-B225-4A5B-BA9F-A88A9AE31D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4693" y="4355924"/>
            <a:ext cx="1406930" cy="1404938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6C85B2A-53AE-4FB0-AE7B-1F628A3FD5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6947" y="4355924"/>
            <a:ext cx="1406930" cy="1404938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2">
            <a:extLst>
              <a:ext uri="{FF2B5EF4-FFF2-40B4-BE49-F238E27FC236}">
                <a16:creationId xmlns:a16="http://schemas.microsoft.com/office/drawing/2014/main" id="{4D93FF38-B037-490C-846A-3B66BC2050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36460" y="2010742"/>
            <a:ext cx="3797385" cy="317139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7" name="Text Placeholder 42">
            <a:extLst>
              <a:ext uri="{FF2B5EF4-FFF2-40B4-BE49-F238E27FC236}">
                <a16:creationId xmlns:a16="http://schemas.microsoft.com/office/drawing/2014/main" id="{2C6F3BBC-003C-4DBF-A805-08222F1FE6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37279" y="4350296"/>
            <a:ext cx="3797385" cy="317139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rgbClr val="232D4B"/>
                </a:solidFill>
                <a:latin typeface="+mj-lt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8329BD31-94AD-42B1-AFF8-D7AA5FED0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61436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AA51CAE-7C75-4495-B6AC-C9A74ED17AD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28CBDBA-BADB-4BCD-B7AF-6836DCEFA75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20146185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onitor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C70BB2-BE1D-4517-8000-310072D3FD2F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5981700" y="0"/>
            <a:ext cx="62103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490A31-DAEA-495C-A258-FC811438087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11200" y="1474788"/>
            <a:ext cx="5003800" cy="3908424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rgbClr val="232D4B"/>
                </a:solidFill>
              </a:defRPr>
            </a:lvl1pPr>
          </a:lstStyle>
          <a:p>
            <a:pPr lvl="0"/>
            <a:r>
              <a:rPr lang="en-US"/>
              <a:t>Arial Regular 18pt, Whi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30F9EF-26CE-4937-970F-97409730DCA7}"/>
              </a:ext>
            </a:extLst>
          </p:cNvPr>
          <p:cNvCxnSpPr>
            <a:cxnSpLocks/>
          </p:cNvCxnSpPr>
          <p:nvPr userDrawn="1"/>
        </p:nvCxnSpPr>
        <p:spPr>
          <a:xfrm>
            <a:off x="584200" y="1481867"/>
            <a:ext cx="0" cy="38942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4576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FFDD486-A275-4F25-8683-E5A82B946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	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ED82F30-34FE-4E1F-B8E4-0363DAE272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6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6PT, ROTUNDA ORANGE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AC393ED4-026E-408C-96CD-09DB34E496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712" y="2368645"/>
            <a:ext cx="10826496" cy="340513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400">
                <a:solidFill>
                  <a:srgbClr val="E77324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• Bullet 1: Arial Bold 16pt, Jefferson Blue</a:t>
            </a:r>
          </a:p>
          <a:p>
            <a:pPr lvl="0"/>
            <a:r>
              <a:rPr lang="en-US"/>
              <a:t>• Bullet 2</a:t>
            </a:r>
          </a:p>
          <a:p>
            <a:pPr lvl="0"/>
            <a:r>
              <a:rPr lang="en-US"/>
              <a:t>• Bullet 3</a:t>
            </a:r>
          </a:p>
          <a:p>
            <a:pPr lvl="0"/>
            <a:r>
              <a:rPr lang="en-US"/>
              <a:t>• Bullet 4</a:t>
            </a:r>
          </a:p>
          <a:p>
            <a:pPr lvl="0"/>
            <a:r>
              <a:rPr lang="en-US"/>
              <a:t>• Bullet 5</a:t>
            </a:r>
          </a:p>
          <a:p>
            <a:pPr lvl="0"/>
            <a:r>
              <a:rPr lang="en-US"/>
              <a:t>• Bullet 6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1567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543E1309-117A-4C0D-9960-DD6EFD5242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28875" y="2016695"/>
            <a:ext cx="7534251" cy="3716177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18" name="Freeform 107">
              <a:extLst>
                <a:ext uri="{FF2B5EF4-FFF2-40B4-BE49-F238E27FC236}">
                  <a16:creationId xmlns:a16="http://schemas.microsoft.com/office/drawing/2014/main" id="{75B769CA-B1A3-43B3-BDCE-C7D3FFBB3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26">
              <a:extLst>
                <a:ext uri="{FF2B5EF4-FFF2-40B4-BE49-F238E27FC236}">
                  <a16:creationId xmlns:a16="http://schemas.microsoft.com/office/drawing/2014/main" id="{8EE5CE9B-5D15-43B8-88DC-6A099A30E4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8">
              <a:extLst>
                <a:ext uri="{FF2B5EF4-FFF2-40B4-BE49-F238E27FC236}">
                  <a16:creationId xmlns:a16="http://schemas.microsoft.com/office/drawing/2014/main" id="{EE44F834-B905-40E8-9998-901300796D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4">
              <a:extLst>
                <a:ext uri="{FF2B5EF4-FFF2-40B4-BE49-F238E27FC236}">
                  <a16:creationId xmlns:a16="http://schemas.microsoft.com/office/drawing/2014/main" id="{EFCA5072-EC6D-4592-AE80-E929E60CA3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0713583-83C9-4136-9144-0BF04095C385}"/>
                </a:ext>
              </a:extLst>
            </p:cNvPr>
            <p:cNvGrpSpPr/>
            <p:nvPr userDrawn="1"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D3296002-A23A-4929-9E55-65094FEA3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FED8140A-AAC2-4B22-9F99-9A17B2C83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F9B09F4-2F2F-4665-8570-6FB7085E2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D4F8B16E-FD38-45B9-B1C4-1A0BF4291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96B3A75F-C34D-41E4-ADAA-D65D45185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FB1D35B2-39E6-49D5-B453-558F940670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CBF925C0-B700-4F8D-8095-508CD8C832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B34E234E-D639-4582-BCB4-642188160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1F219739-C54F-4C6E-B4D5-5EFE43831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91C30A60-3319-4E53-BDC7-FBAC517D7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CD6D3488-30A7-4104-ACBB-27A4144545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0FDD3F07-6170-4F79-B3F8-F9AD84AD2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7">
                <a:extLst>
                  <a:ext uri="{FF2B5EF4-FFF2-40B4-BE49-F238E27FC236}">
                    <a16:creationId xmlns:a16="http://schemas.microsoft.com/office/drawing/2014/main" id="{FA5CA788-6A14-406D-AD0E-F356AA89A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18">
                <a:extLst>
                  <a:ext uri="{FF2B5EF4-FFF2-40B4-BE49-F238E27FC236}">
                    <a16:creationId xmlns:a16="http://schemas.microsoft.com/office/drawing/2014/main" id="{E7E4EA15-7677-4509-A8FE-0B58D7AFD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9">
                <a:extLst>
                  <a:ext uri="{FF2B5EF4-FFF2-40B4-BE49-F238E27FC236}">
                    <a16:creationId xmlns:a16="http://schemas.microsoft.com/office/drawing/2014/main" id="{D2E91A33-E42D-4F31-B3BE-6D159C903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0">
                <a:extLst>
                  <a:ext uri="{FF2B5EF4-FFF2-40B4-BE49-F238E27FC236}">
                    <a16:creationId xmlns:a16="http://schemas.microsoft.com/office/drawing/2014/main" id="{FB38FE85-1472-428C-8D9F-CA1A698B3E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">
                <a:extLst>
                  <a:ext uri="{FF2B5EF4-FFF2-40B4-BE49-F238E27FC236}">
                    <a16:creationId xmlns:a16="http://schemas.microsoft.com/office/drawing/2014/main" id="{103AE938-39D0-47D1-87B7-7B4C598DE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2">
                <a:extLst>
                  <a:ext uri="{FF2B5EF4-FFF2-40B4-BE49-F238E27FC236}">
                    <a16:creationId xmlns:a16="http://schemas.microsoft.com/office/drawing/2014/main" id="{4F4ADBE4-7A34-40AC-8BF6-83FF29847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3">
                <a:extLst>
                  <a:ext uri="{FF2B5EF4-FFF2-40B4-BE49-F238E27FC236}">
                    <a16:creationId xmlns:a16="http://schemas.microsoft.com/office/drawing/2014/main" id="{F70351F7-1D66-4782-8A36-E71F09634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4">
                <a:extLst>
                  <a:ext uri="{FF2B5EF4-FFF2-40B4-BE49-F238E27FC236}">
                    <a16:creationId xmlns:a16="http://schemas.microsoft.com/office/drawing/2014/main" id="{33581E5B-E370-4D61-941F-71A2E52A2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5">
                <a:extLst>
                  <a:ext uri="{FF2B5EF4-FFF2-40B4-BE49-F238E27FC236}">
                    <a16:creationId xmlns:a16="http://schemas.microsoft.com/office/drawing/2014/main" id="{3C45B1B2-ACE5-441F-82F5-46FA21370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">
                <a:extLst>
                  <a:ext uri="{FF2B5EF4-FFF2-40B4-BE49-F238E27FC236}">
                    <a16:creationId xmlns:a16="http://schemas.microsoft.com/office/drawing/2014/main" id="{9C9E96F7-D2DB-4848-A4C3-60BE56698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7">
                <a:extLst>
                  <a:ext uri="{FF2B5EF4-FFF2-40B4-BE49-F238E27FC236}">
                    <a16:creationId xmlns:a16="http://schemas.microsoft.com/office/drawing/2014/main" id="{773B0BD8-57F1-4B19-81C1-A342BA4F6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8">
                <a:extLst>
                  <a:ext uri="{FF2B5EF4-FFF2-40B4-BE49-F238E27FC236}">
                    <a16:creationId xmlns:a16="http://schemas.microsoft.com/office/drawing/2014/main" id="{2DFA8D16-9238-4E83-A49E-35DF74EC1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9">
                <a:extLst>
                  <a:ext uri="{FF2B5EF4-FFF2-40B4-BE49-F238E27FC236}">
                    <a16:creationId xmlns:a16="http://schemas.microsoft.com/office/drawing/2014/main" id="{3E531247-02D1-4CA3-99A1-4AE7D02D53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0">
                <a:extLst>
                  <a:ext uri="{FF2B5EF4-FFF2-40B4-BE49-F238E27FC236}">
                    <a16:creationId xmlns:a16="http://schemas.microsoft.com/office/drawing/2014/main" id="{42396486-4D06-409E-8CFD-D69A9DA93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1">
                <a:extLst>
                  <a:ext uri="{FF2B5EF4-FFF2-40B4-BE49-F238E27FC236}">
                    <a16:creationId xmlns:a16="http://schemas.microsoft.com/office/drawing/2014/main" id="{09604288-D42C-4857-BA28-74173FC2D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2">
                <a:extLst>
                  <a:ext uri="{FF2B5EF4-FFF2-40B4-BE49-F238E27FC236}">
                    <a16:creationId xmlns:a16="http://schemas.microsoft.com/office/drawing/2014/main" id="{010410A2-D70D-4FF3-B8BC-12FA02C68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3">
                <a:extLst>
                  <a:ext uri="{FF2B5EF4-FFF2-40B4-BE49-F238E27FC236}">
                    <a16:creationId xmlns:a16="http://schemas.microsoft.com/office/drawing/2014/main" id="{DB9CC3AF-04D6-4558-A7E2-A265166D6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4">
                <a:extLst>
                  <a:ext uri="{FF2B5EF4-FFF2-40B4-BE49-F238E27FC236}">
                    <a16:creationId xmlns:a16="http://schemas.microsoft.com/office/drawing/2014/main" id="{39C72BDA-0215-472D-A012-C3106BA8B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5">
                <a:extLst>
                  <a:ext uri="{FF2B5EF4-FFF2-40B4-BE49-F238E27FC236}">
                    <a16:creationId xmlns:a16="http://schemas.microsoft.com/office/drawing/2014/main" id="{0718D27A-AD1B-4B72-933E-64137AACF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6">
                <a:extLst>
                  <a:ext uri="{FF2B5EF4-FFF2-40B4-BE49-F238E27FC236}">
                    <a16:creationId xmlns:a16="http://schemas.microsoft.com/office/drawing/2014/main" id="{DAB5F9DE-8BF5-469B-A436-A31846D59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7">
                <a:extLst>
                  <a:ext uri="{FF2B5EF4-FFF2-40B4-BE49-F238E27FC236}">
                    <a16:creationId xmlns:a16="http://schemas.microsoft.com/office/drawing/2014/main" id="{AB627A17-04EE-499D-8BC0-D4DF3C5FC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8">
                <a:extLst>
                  <a:ext uri="{FF2B5EF4-FFF2-40B4-BE49-F238E27FC236}">
                    <a16:creationId xmlns:a16="http://schemas.microsoft.com/office/drawing/2014/main" id="{8344CECB-D3E8-43F5-A3BD-32AC82D7F8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9">
                <a:extLst>
                  <a:ext uri="{FF2B5EF4-FFF2-40B4-BE49-F238E27FC236}">
                    <a16:creationId xmlns:a16="http://schemas.microsoft.com/office/drawing/2014/main" id="{66E1376A-B4B3-4685-9A6C-C04A9064F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40">
                <a:extLst>
                  <a:ext uri="{FF2B5EF4-FFF2-40B4-BE49-F238E27FC236}">
                    <a16:creationId xmlns:a16="http://schemas.microsoft.com/office/drawing/2014/main" id="{20F4D6FE-05D0-49F3-AAC4-99A9A60D4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1">
                <a:extLst>
                  <a:ext uri="{FF2B5EF4-FFF2-40B4-BE49-F238E27FC236}">
                    <a16:creationId xmlns:a16="http://schemas.microsoft.com/office/drawing/2014/main" id="{879688A1-7DD6-4013-B2AE-FC5A60E04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2">
                <a:extLst>
                  <a:ext uri="{FF2B5EF4-FFF2-40B4-BE49-F238E27FC236}">
                    <a16:creationId xmlns:a16="http://schemas.microsoft.com/office/drawing/2014/main" id="{62F8FAC2-B223-4C76-864D-351F0E895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3">
                <a:extLst>
                  <a:ext uri="{FF2B5EF4-FFF2-40B4-BE49-F238E27FC236}">
                    <a16:creationId xmlns:a16="http://schemas.microsoft.com/office/drawing/2014/main" id="{808D8C37-B876-4375-BD70-8E9EF34D2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4">
                <a:extLst>
                  <a:ext uri="{FF2B5EF4-FFF2-40B4-BE49-F238E27FC236}">
                    <a16:creationId xmlns:a16="http://schemas.microsoft.com/office/drawing/2014/main" id="{DA4B656B-1A4B-4E74-83C6-AE84D470D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45">
                <a:extLst>
                  <a:ext uri="{FF2B5EF4-FFF2-40B4-BE49-F238E27FC236}">
                    <a16:creationId xmlns:a16="http://schemas.microsoft.com/office/drawing/2014/main" id="{1650AC67-2EDE-43CA-A0E8-FF70CA8D2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46">
                <a:extLst>
                  <a:ext uri="{FF2B5EF4-FFF2-40B4-BE49-F238E27FC236}">
                    <a16:creationId xmlns:a16="http://schemas.microsoft.com/office/drawing/2014/main" id="{A0CF96C3-E9EF-4D92-B118-EE90FB2B3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47">
                <a:extLst>
                  <a:ext uri="{FF2B5EF4-FFF2-40B4-BE49-F238E27FC236}">
                    <a16:creationId xmlns:a16="http://schemas.microsoft.com/office/drawing/2014/main" id="{461F8687-EA8B-4389-93CD-6D84D7BAB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48">
                <a:extLst>
                  <a:ext uri="{FF2B5EF4-FFF2-40B4-BE49-F238E27FC236}">
                    <a16:creationId xmlns:a16="http://schemas.microsoft.com/office/drawing/2014/main" id="{76CA3754-692B-4A82-AD2E-5909FC3C4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49">
                <a:extLst>
                  <a:ext uri="{FF2B5EF4-FFF2-40B4-BE49-F238E27FC236}">
                    <a16:creationId xmlns:a16="http://schemas.microsoft.com/office/drawing/2014/main" id="{3D3A646E-514A-4987-A8C3-E8D36733C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50">
                <a:extLst>
                  <a:ext uri="{FF2B5EF4-FFF2-40B4-BE49-F238E27FC236}">
                    <a16:creationId xmlns:a16="http://schemas.microsoft.com/office/drawing/2014/main" id="{FFFA6464-E4A4-4677-ABEC-51DAF4363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1">
                <a:extLst>
                  <a:ext uri="{FF2B5EF4-FFF2-40B4-BE49-F238E27FC236}">
                    <a16:creationId xmlns:a16="http://schemas.microsoft.com/office/drawing/2014/main" id="{2ED64186-FD6C-4093-BDA2-BEAB38098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2">
                <a:extLst>
                  <a:ext uri="{FF2B5EF4-FFF2-40B4-BE49-F238E27FC236}">
                    <a16:creationId xmlns:a16="http://schemas.microsoft.com/office/drawing/2014/main" id="{DB3C8C1E-FC9F-49CD-A077-BC8905FBF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3">
                <a:extLst>
                  <a:ext uri="{FF2B5EF4-FFF2-40B4-BE49-F238E27FC236}">
                    <a16:creationId xmlns:a16="http://schemas.microsoft.com/office/drawing/2014/main" id="{7DD13C1E-B335-485D-99E3-9023AAD18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4">
                <a:extLst>
                  <a:ext uri="{FF2B5EF4-FFF2-40B4-BE49-F238E27FC236}">
                    <a16:creationId xmlns:a16="http://schemas.microsoft.com/office/drawing/2014/main" id="{F27FF28E-3D17-44CC-A408-B1802CCD9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5">
                <a:extLst>
                  <a:ext uri="{FF2B5EF4-FFF2-40B4-BE49-F238E27FC236}">
                    <a16:creationId xmlns:a16="http://schemas.microsoft.com/office/drawing/2014/main" id="{9216E07F-B844-425B-A6AC-27CEA554D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56">
                <a:extLst>
                  <a:ext uri="{FF2B5EF4-FFF2-40B4-BE49-F238E27FC236}">
                    <a16:creationId xmlns:a16="http://schemas.microsoft.com/office/drawing/2014/main" id="{C2D611B5-FE8A-4AD7-8163-D04F268D0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57">
                <a:extLst>
                  <a:ext uri="{FF2B5EF4-FFF2-40B4-BE49-F238E27FC236}">
                    <a16:creationId xmlns:a16="http://schemas.microsoft.com/office/drawing/2014/main" id="{4545332F-41A5-4948-B6F0-547E319562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58">
                <a:extLst>
                  <a:ext uri="{FF2B5EF4-FFF2-40B4-BE49-F238E27FC236}">
                    <a16:creationId xmlns:a16="http://schemas.microsoft.com/office/drawing/2014/main" id="{9986D05E-05AE-442D-A89A-29D7EB8E5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59">
                <a:extLst>
                  <a:ext uri="{FF2B5EF4-FFF2-40B4-BE49-F238E27FC236}">
                    <a16:creationId xmlns:a16="http://schemas.microsoft.com/office/drawing/2014/main" id="{965281FD-3016-482D-AAE7-051B9A6AD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60">
                <a:extLst>
                  <a:ext uri="{FF2B5EF4-FFF2-40B4-BE49-F238E27FC236}">
                    <a16:creationId xmlns:a16="http://schemas.microsoft.com/office/drawing/2014/main" id="{455D062D-057E-4600-A987-D29130B55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1">
                <a:extLst>
                  <a:ext uri="{FF2B5EF4-FFF2-40B4-BE49-F238E27FC236}">
                    <a16:creationId xmlns:a16="http://schemas.microsoft.com/office/drawing/2014/main" id="{4A8AAB3B-86D0-4860-8E80-AB5134E12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2">
                <a:extLst>
                  <a:ext uri="{FF2B5EF4-FFF2-40B4-BE49-F238E27FC236}">
                    <a16:creationId xmlns:a16="http://schemas.microsoft.com/office/drawing/2014/main" id="{5FCD7370-0FA7-41A2-A83B-D14E59DF45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3">
                <a:extLst>
                  <a:ext uri="{FF2B5EF4-FFF2-40B4-BE49-F238E27FC236}">
                    <a16:creationId xmlns:a16="http://schemas.microsoft.com/office/drawing/2014/main" id="{43C5979F-341F-4645-BC01-8302A2550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4">
                <a:extLst>
                  <a:ext uri="{FF2B5EF4-FFF2-40B4-BE49-F238E27FC236}">
                    <a16:creationId xmlns:a16="http://schemas.microsoft.com/office/drawing/2014/main" id="{729B3571-7807-42CF-8784-73555F146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65">
                <a:extLst>
                  <a:ext uri="{FF2B5EF4-FFF2-40B4-BE49-F238E27FC236}">
                    <a16:creationId xmlns:a16="http://schemas.microsoft.com/office/drawing/2014/main" id="{C34F2873-BDFD-4C4D-AB67-AF767D595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66">
                <a:extLst>
                  <a:ext uri="{FF2B5EF4-FFF2-40B4-BE49-F238E27FC236}">
                    <a16:creationId xmlns:a16="http://schemas.microsoft.com/office/drawing/2014/main" id="{F88956E0-4BC6-4C59-BBDE-53959937D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7">
                <a:extLst>
                  <a:ext uri="{FF2B5EF4-FFF2-40B4-BE49-F238E27FC236}">
                    <a16:creationId xmlns:a16="http://schemas.microsoft.com/office/drawing/2014/main" id="{C76DDD5C-A587-48E6-8AC8-97521AC5B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68">
                <a:extLst>
                  <a:ext uri="{FF2B5EF4-FFF2-40B4-BE49-F238E27FC236}">
                    <a16:creationId xmlns:a16="http://schemas.microsoft.com/office/drawing/2014/main" id="{614783C4-9365-4E3F-B556-9C22D376A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69">
                <a:extLst>
                  <a:ext uri="{FF2B5EF4-FFF2-40B4-BE49-F238E27FC236}">
                    <a16:creationId xmlns:a16="http://schemas.microsoft.com/office/drawing/2014/main" id="{FCDDCF65-477E-47F9-ADC0-41DCEF2C1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70">
                <a:extLst>
                  <a:ext uri="{FF2B5EF4-FFF2-40B4-BE49-F238E27FC236}">
                    <a16:creationId xmlns:a16="http://schemas.microsoft.com/office/drawing/2014/main" id="{75E5A5C3-A926-487C-B649-1CCB3954B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1">
                <a:extLst>
                  <a:ext uri="{FF2B5EF4-FFF2-40B4-BE49-F238E27FC236}">
                    <a16:creationId xmlns:a16="http://schemas.microsoft.com/office/drawing/2014/main" id="{E879E9D2-8851-43B8-A6D9-E854FD2B2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2">
                <a:extLst>
                  <a:ext uri="{FF2B5EF4-FFF2-40B4-BE49-F238E27FC236}">
                    <a16:creationId xmlns:a16="http://schemas.microsoft.com/office/drawing/2014/main" id="{34BF832D-B686-4D28-AB7C-15B5490BE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3">
                <a:extLst>
                  <a:ext uri="{FF2B5EF4-FFF2-40B4-BE49-F238E27FC236}">
                    <a16:creationId xmlns:a16="http://schemas.microsoft.com/office/drawing/2014/main" id="{9535DD5F-F3A6-4113-8679-A88038B6E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4">
                <a:extLst>
                  <a:ext uri="{FF2B5EF4-FFF2-40B4-BE49-F238E27FC236}">
                    <a16:creationId xmlns:a16="http://schemas.microsoft.com/office/drawing/2014/main" id="{D7EC02C0-912F-4C8E-A7D9-4BD099ACD2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75">
                <a:extLst>
                  <a:ext uri="{FF2B5EF4-FFF2-40B4-BE49-F238E27FC236}">
                    <a16:creationId xmlns:a16="http://schemas.microsoft.com/office/drawing/2014/main" id="{980DDFE4-B15E-445B-85CD-1EBBEE597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6">
                <a:extLst>
                  <a:ext uri="{FF2B5EF4-FFF2-40B4-BE49-F238E27FC236}">
                    <a16:creationId xmlns:a16="http://schemas.microsoft.com/office/drawing/2014/main" id="{5E60AEF0-EDBC-4EC3-AB0F-214C4CA61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77">
                <a:extLst>
                  <a:ext uri="{FF2B5EF4-FFF2-40B4-BE49-F238E27FC236}">
                    <a16:creationId xmlns:a16="http://schemas.microsoft.com/office/drawing/2014/main" id="{E5B51A1A-F878-45C6-9724-8E834194D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78">
                <a:extLst>
                  <a:ext uri="{FF2B5EF4-FFF2-40B4-BE49-F238E27FC236}">
                    <a16:creationId xmlns:a16="http://schemas.microsoft.com/office/drawing/2014/main" id="{BCBD1127-67B1-43A2-9B74-D4B2EFAFF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79">
                <a:extLst>
                  <a:ext uri="{FF2B5EF4-FFF2-40B4-BE49-F238E27FC236}">
                    <a16:creationId xmlns:a16="http://schemas.microsoft.com/office/drawing/2014/main" id="{E8060256-E426-4362-9D58-F748DE3F3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0">
                <a:extLst>
                  <a:ext uri="{FF2B5EF4-FFF2-40B4-BE49-F238E27FC236}">
                    <a16:creationId xmlns:a16="http://schemas.microsoft.com/office/drawing/2014/main" id="{81302BAC-BDD3-406B-B3F4-19430A292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1">
                <a:extLst>
                  <a:ext uri="{FF2B5EF4-FFF2-40B4-BE49-F238E27FC236}">
                    <a16:creationId xmlns:a16="http://schemas.microsoft.com/office/drawing/2014/main" id="{2AB420C5-BAC5-4E2D-8DC9-A2E2EEE55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2">
                <a:extLst>
                  <a:ext uri="{FF2B5EF4-FFF2-40B4-BE49-F238E27FC236}">
                    <a16:creationId xmlns:a16="http://schemas.microsoft.com/office/drawing/2014/main" id="{A0EDB801-0B7E-4544-A9C5-FEAB75611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3">
                <a:extLst>
                  <a:ext uri="{FF2B5EF4-FFF2-40B4-BE49-F238E27FC236}">
                    <a16:creationId xmlns:a16="http://schemas.microsoft.com/office/drawing/2014/main" id="{66D09031-F43C-4C93-989A-C0CC57C46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4">
                <a:extLst>
                  <a:ext uri="{FF2B5EF4-FFF2-40B4-BE49-F238E27FC236}">
                    <a16:creationId xmlns:a16="http://schemas.microsoft.com/office/drawing/2014/main" id="{635EA3DA-03D8-4312-9596-FC03DB58B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5">
                <a:extLst>
                  <a:ext uri="{FF2B5EF4-FFF2-40B4-BE49-F238E27FC236}">
                    <a16:creationId xmlns:a16="http://schemas.microsoft.com/office/drawing/2014/main" id="{3B66DA0F-C314-4A6C-92F1-E34701BF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6">
                <a:extLst>
                  <a:ext uri="{FF2B5EF4-FFF2-40B4-BE49-F238E27FC236}">
                    <a16:creationId xmlns:a16="http://schemas.microsoft.com/office/drawing/2014/main" id="{F22A9774-A094-4E6E-AABA-9D87745D2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87">
                <a:extLst>
                  <a:ext uri="{FF2B5EF4-FFF2-40B4-BE49-F238E27FC236}">
                    <a16:creationId xmlns:a16="http://schemas.microsoft.com/office/drawing/2014/main" id="{C7D89AEA-B89E-4E16-9AB8-FD5DA7BAD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8">
                <a:extLst>
                  <a:ext uri="{FF2B5EF4-FFF2-40B4-BE49-F238E27FC236}">
                    <a16:creationId xmlns:a16="http://schemas.microsoft.com/office/drawing/2014/main" id="{D1558FCB-EE3B-40FC-A140-3AE8F2370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9">
                <a:extLst>
                  <a:ext uri="{FF2B5EF4-FFF2-40B4-BE49-F238E27FC236}">
                    <a16:creationId xmlns:a16="http://schemas.microsoft.com/office/drawing/2014/main" id="{590BAE44-B945-477E-A357-6553FAC7A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90">
                <a:extLst>
                  <a:ext uri="{FF2B5EF4-FFF2-40B4-BE49-F238E27FC236}">
                    <a16:creationId xmlns:a16="http://schemas.microsoft.com/office/drawing/2014/main" id="{7772BAEB-D8EF-41AD-AD4E-0E427ABE0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91">
                <a:extLst>
                  <a:ext uri="{FF2B5EF4-FFF2-40B4-BE49-F238E27FC236}">
                    <a16:creationId xmlns:a16="http://schemas.microsoft.com/office/drawing/2014/main" id="{4E7B545B-F0F3-46DA-B077-A0FCA57BD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92">
                <a:extLst>
                  <a:ext uri="{FF2B5EF4-FFF2-40B4-BE49-F238E27FC236}">
                    <a16:creationId xmlns:a16="http://schemas.microsoft.com/office/drawing/2014/main" id="{C58C0223-442F-4D46-B771-1ABC2D102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3">
                <a:extLst>
                  <a:ext uri="{FF2B5EF4-FFF2-40B4-BE49-F238E27FC236}">
                    <a16:creationId xmlns:a16="http://schemas.microsoft.com/office/drawing/2014/main" id="{E07B8F9C-30BE-4176-A0F1-3DA9F88B7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94">
                <a:extLst>
                  <a:ext uri="{FF2B5EF4-FFF2-40B4-BE49-F238E27FC236}">
                    <a16:creationId xmlns:a16="http://schemas.microsoft.com/office/drawing/2014/main" id="{90A011FA-6DDE-448A-8FC3-7AD30F57B3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95">
                <a:extLst>
                  <a:ext uri="{FF2B5EF4-FFF2-40B4-BE49-F238E27FC236}">
                    <a16:creationId xmlns:a16="http://schemas.microsoft.com/office/drawing/2014/main" id="{3EAC63D5-1105-4DD3-83E9-0218F98E5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96">
                <a:extLst>
                  <a:ext uri="{FF2B5EF4-FFF2-40B4-BE49-F238E27FC236}">
                    <a16:creationId xmlns:a16="http://schemas.microsoft.com/office/drawing/2014/main" id="{1A73323B-1813-4200-911E-0DA88C51B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97">
                <a:extLst>
                  <a:ext uri="{FF2B5EF4-FFF2-40B4-BE49-F238E27FC236}">
                    <a16:creationId xmlns:a16="http://schemas.microsoft.com/office/drawing/2014/main" id="{A1E16A30-49C6-4795-95E1-27B6122AA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98">
                <a:extLst>
                  <a:ext uri="{FF2B5EF4-FFF2-40B4-BE49-F238E27FC236}">
                    <a16:creationId xmlns:a16="http://schemas.microsoft.com/office/drawing/2014/main" id="{0C94DFED-6D47-44B0-9BBB-ED8E342038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99">
                <a:extLst>
                  <a:ext uri="{FF2B5EF4-FFF2-40B4-BE49-F238E27FC236}">
                    <a16:creationId xmlns:a16="http://schemas.microsoft.com/office/drawing/2014/main" id="{5F21D749-6219-4185-8BB7-CA3B31D70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00">
                <a:extLst>
                  <a:ext uri="{FF2B5EF4-FFF2-40B4-BE49-F238E27FC236}">
                    <a16:creationId xmlns:a16="http://schemas.microsoft.com/office/drawing/2014/main" id="{59FE0E6A-0193-4442-A607-602F4D359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01">
                <a:extLst>
                  <a:ext uri="{FF2B5EF4-FFF2-40B4-BE49-F238E27FC236}">
                    <a16:creationId xmlns:a16="http://schemas.microsoft.com/office/drawing/2014/main" id="{BB059A86-4851-4435-AFBE-03D13F488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02">
                <a:extLst>
                  <a:ext uri="{FF2B5EF4-FFF2-40B4-BE49-F238E27FC236}">
                    <a16:creationId xmlns:a16="http://schemas.microsoft.com/office/drawing/2014/main" id="{A7ADB567-D85E-47D0-8A32-53CF05ECD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03">
                <a:extLst>
                  <a:ext uri="{FF2B5EF4-FFF2-40B4-BE49-F238E27FC236}">
                    <a16:creationId xmlns:a16="http://schemas.microsoft.com/office/drawing/2014/main" id="{11BA8FA8-5CC9-4061-879C-2417453EC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04">
                <a:extLst>
                  <a:ext uri="{FF2B5EF4-FFF2-40B4-BE49-F238E27FC236}">
                    <a16:creationId xmlns:a16="http://schemas.microsoft.com/office/drawing/2014/main" id="{A9898D0B-9E7A-42A1-B6E2-02C5A722A7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05">
                <a:extLst>
                  <a:ext uri="{FF2B5EF4-FFF2-40B4-BE49-F238E27FC236}">
                    <a16:creationId xmlns:a16="http://schemas.microsoft.com/office/drawing/2014/main" id="{A9F76C44-733C-4368-B5F3-BFFABECCF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06">
                <a:extLst>
                  <a:ext uri="{FF2B5EF4-FFF2-40B4-BE49-F238E27FC236}">
                    <a16:creationId xmlns:a16="http://schemas.microsoft.com/office/drawing/2014/main" id="{FF8ED26C-58A8-4544-A811-2AEE3A1DF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08">
                <a:extLst>
                  <a:ext uri="{FF2B5EF4-FFF2-40B4-BE49-F238E27FC236}">
                    <a16:creationId xmlns:a16="http://schemas.microsoft.com/office/drawing/2014/main" id="{2167C2D9-57A8-44DD-9160-CECDD7547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09">
                <a:extLst>
                  <a:ext uri="{FF2B5EF4-FFF2-40B4-BE49-F238E27FC236}">
                    <a16:creationId xmlns:a16="http://schemas.microsoft.com/office/drawing/2014/main" id="{B0CCD97E-FBB9-4BA2-A4C9-F44CA783F3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C3CF7DDD-A85A-47E2-B187-75BCC184C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11">
                <a:extLst>
                  <a:ext uri="{FF2B5EF4-FFF2-40B4-BE49-F238E27FC236}">
                    <a16:creationId xmlns:a16="http://schemas.microsoft.com/office/drawing/2014/main" id="{5A3B868B-5E39-47F1-8D20-22558C94F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12">
                <a:extLst>
                  <a:ext uri="{FF2B5EF4-FFF2-40B4-BE49-F238E27FC236}">
                    <a16:creationId xmlns:a16="http://schemas.microsoft.com/office/drawing/2014/main" id="{14782A59-9FCB-458F-BFE4-49DEAED5F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13">
                <a:extLst>
                  <a:ext uri="{FF2B5EF4-FFF2-40B4-BE49-F238E27FC236}">
                    <a16:creationId xmlns:a16="http://schemas.microsoft.com/office/drawing/2014/main" id="{0EC28739-BBBE-4AA6-9748-6DE7AE8B7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4">
                <a:extLst>
                  <a:ext uri="{FF2B5EF4-FFF2-40B4-BE49-F238E27FC236}">
                    <a16:creationId xmlns:a16="http://schemas.microsoft.com/office/drawing/2014/main" id="{41448CCB-D666-4097-BA88-39AF415F3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15">
                <a:extLst>
                  <a:ext uri="{FF2B5EF4-FFF2-40B4-BE49-F238E27FC236}">
                    <a16:creationId xmlns:a16="http://schemas.microsoft.com/office/drawing/2014/main" id="{B7B182F3-77F4-4B29-9E21-465B16668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16">
                <a:extLst>
                  <a:ext uri="{FF2B5EF4-FFF2-40B4-BE49-F238E27FC236}">
                    <a16:creationId xmlns:a16="http://schemas.microsoft.com/office/drawing/2014/main" id="{B7E42A2E-CADC-4D53-847D-E2603B62D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17">
                <a:extLst>
                  <a:ext uri="{FF2B5EF4-FFF2-40B4-BE49-F238E27FC236}">
                    <a16:creationId xmlns:a16="http://schemas.microsoft.com/office/drawing/2014/main" id="{C239C1FA-2BB7-4686-B83D-402FA804C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18">
                <a:extLst>
                  <a:ext uri="{FF2B5EF4-FFF2-40B4-BE49-F238E27FC236}">
                    <a16:creationId xmlns:a16="http://schemas.microsoft.com/office/drawing/2014/main" id="{2F716064-8337-4A5F-B5CB-4A17B3B9E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19">
                <a:extLst>
                  <a:ext uri="{FF2B5EF4-FFF2-40B4-BE49-F238E27FC236}">
                    <a16:creationId xmlns:a16="http://schemas.microsoft.com/office/drawing/2014/main" id="{5BB7F68A-8FC8-4C34-8ADC-585C0866E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20">
                <a:extLst>
                  <a:ext uri="{FF2B5EF4-FFF2-40B4-BE49-F238E27FC236}">
                    <a16:creationId xmlns:a16="http://schemas.microsoft.com/office/drawing/2014/main" id="{D3A769B6-F2F7-4309-AE69-256CD8B9B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21">
                <a:extLst>
                  <a:ext uri="{FF2B5EF4-FFF2-40B4-BE49-F238E27FC236}">
                    <a16:creationId xmlns:a16="http://schemas.microsoft.com/office/drawing/2014/main" id="{D20E26EF-D345-4F2D-BD1F-411700C01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22">
                <a:extLst>
                  <a:ext uri="{FF2B5EF4-FFF2-40B4-BE49-F238E27FC236}">
                    <a16:creationId xmlns:a16="http://schemas.microsoft.com/office/drawing/2014/main" id="{9F971173-E5A1-4CDA-B4E5-700915534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23">
                <a:extLst>
                  <a:ext uri="{FF2B5EF4-FFF2-40B4-BE49-F238E27FC236}">
                    <a16:creationId xmlns:a16="http://schemas.microsoft.com/office/drawing/2014/main" id="{AB7D340D-7836-44F9-8927-233B03A54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24">
                <a:extLst>
                  <a:ext uri="{FF2B5EF4-FFF2-40B4-BE49-F238E27FC236}">
                    <a16:creationId xmlns:a16="http://schemas.microsoft.com/office/drawing/2014/main" id="{B3FC93D9-9E68-40B1-B9B6-9676B67A1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25">
                <a:extLst>
                  <a:ext uri="{FF2B5EF4-FFF2-40B4-BE49-F238E27FC236}">
                    <a16:creationId xmlns:a16="http://schemas.microsoft.com/office/drawing/2014/main" id="{3615268B-60DD-409D-AFA3-C0ECC44ED4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27">
                <a:extLst>
                  <a:ext uri="{FF2B5EF4-FFF2-40B4-BE49-F238E27FC236}">
                    <a16:creationId xmlns:a16="http://schemas.microsoft.com/office/drawing/2014/main" id="{B854320E-869A-4D3E-A4E5-D216EC37D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28">
                <a:extLst>
                  <a:ext uri="{FF2B5EF4-FFF2-40B4-BE49-F238E27FC236}">
                    <a16:creationId xmlns:a16="http://schemas.microsoft.com/office/drawing/2014/main" id="{C5756188-8FC8-4C25-848D-E96D6256B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29">
                <a:extLst>
                  <a:ext uri="{FF2B5EF4-FFF2-40B4-BE49-F238E27FC236}">
                    <a16:creationId xmlns:a16="http://schemas.microsoft.com/office/drawing/2014/main" id="{23E3022C-7389-4858-8D15-FA12CE4EE5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30">
                <a:extLst>
                  <a:ext uri="{FF2B5EF4-FFF2-40B4-BE49-F238E27FC236}">
                    <a16:creationId xmlns:a16="http://schemas.microsoft.com/office/drawing/2014/main" id="{70A79249-3A58-4E21-99E4-3B6CC8152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31">
                <a:extLst>
                  <a:ext uri="{FF2B5EF4-FFF2-40B4-BE49-F238E27FC236}">
                    <a16:creationId xmlns:a16="http://schemas.microsoft.com/office/drawing/2014/main" id="{8BBC3B11-E425-46A6-ACD3-342300E31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32">
                <a:extLst>
                  <a:ext uri="{FF2B5EF4-FFF2-40B4-BE49-F238E27FC236}">
                    <a16:creationId xmlns:a16="http://schemas.microsoft.com/office/drawing/2014/main" id="{76557874-C6A4-4D64-BA0F-605130AF8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33">
                <a:extLst>
                  <a:ext uri="{FF2B5EF4-FFF2-40B4-BE49-F238E27FC236}">
                    <a16:creationId xmlns:a16="http://schemas.microsoft.com/office/drawing/2014/main" id="{9A7B86E2-5E9B-4427-9EF3-5EC9B13829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34">
                <a:extLst>
                  <a:ext uri="{FF2B5EF4-FFF2-40B4-BE49-F238E27FC236}">
                    <a16:creationId xmlns:a16="http://schemas.microsoft.com/office/drawing/2014/main" id="{0EAC33F8-EB65-4B8E-803E-A78A01694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35">
                <a:extLst>
                  <a:ext uri="{FF2B5EF4-FFF2-40B4-BE49-F238E27FC236}">
                    <a16:creationId xmlns:a16="http://schemas.microsoft.com/office/drawing/2014/main" id="{63B85D47-BAA8-4528-9EB7-B18C507388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36">
                <a:extLst>
                  <a:ext uri="{FF2B5EF4-FFF2-40B4-BE49-F238E27FC236}">
                    <a16:creationId xmlns:a16="http://schemas.microsoft.com/office/drawing/2014/main" id="{59B2558C-3635-4BB4-A34F-F911FFC79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37">
                <a:extLst>
                  <a:ext uri="{FF2B5EF4-FFF2-40B4-BE49-F238E27FC236}">
                    <a16:creationId xmlns:a16="http://schemas.microsoft.com/office/drawing/2014/main" id="{C1073807-0CAA-43F1-BC3F-A273356A7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38">
                <a:extLst>
                  <a:ext uri="{FF2B5EF4-FFF2-40B4-BE49-F238E27FC236}">
                    <a16:creationId xmlns:a16="http://schemas.microsoft.com/office/drawing/2014/main" id="{CCFA9354-8D59-4F0E-8C64-D9D529BCA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39">
                <a:extLst>
                  <a:ext uri="{FF2B5EF4-FFF2-40B4-BE49-F238E27FC236}">
                    <a16:creationId xmlns:a16="http://schemas.microsoft.com/office/drawing/2014/main" id="{302DE450-F28F-40CE-A152-968E9DE14E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40">
                <a:extLst>
                  <a:ext uri="{FF2B5EF4-FFF2-40B4-BE49-F238E27FC236}">
                    <a16:creationId xmlns:a16="http://schemas.microsoft.com/office/drawing/2014/main" id="{0163AC0F-A3E5-40A1-BED1-9632663B1C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41">
                <a:extLst>
                  <a:ext uri="{FF2B5EF4-FFF2-40B4-BE49-F238E27FC236}">
                    <a16:creationId xmlns:a16="http://schemas.microsoft.com/office/drawing/2014/main" id="{F7943544-FC11-46BC-80DD-E11842C960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42">
                <a:extLst>
                  <a:ext uri="{FF2B5EF4-FFF2-40B4-BE49-F238E27FC236}">
                    <a16:creationId xmlns:a16="http://schemas.microsoft.com/office/drawing/2014/main" id="{F5BC48B7-BB30-48FE-BC28-665FA18E7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43">
                <a:extLst>
                  <a:ext uri="{FF2B5EF4-FFF2-40B4-BE49-F238E27FC236}">
                    <a16:creationId xmlns:a16="http://schemas.microsoft.com/office/drawing/2014/main" id="{25F82FD4-DFD3-4D32-8EB0-4011BECF62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44">
                <a:extLst>
                  <a:ext uri="{FF2B5EF4-FFF2-40B4-BE49-F238E27FC236}">
                    <a16:creationId xmlns:a16="http://schemas.microsoft.com/office/drawing/2014/main" id="{5594F664-4CF4-476A-8084-85E804846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45">
                <a:extLst>
                  <a:ext uri="{FF2B5EF4-FFF2-40B4-BE49-F238E27FC236}">
                    <a16:creationId xmlns:a16="http://schemas.microsoft.com/office/drawing/2014/main" id="{5B14E583-2E3B-4F7A-8201-9112334AF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46">
                <a:extLst>
                  <a:ext uri="{FF2B5EF4-FFF2-40B4-BE49-F238E27FC236}">
                    <a16:creationId xmlns:a16="http://schemas.microsoft.com/office/drawing/2014/main" id="{5508BF6F-0602-4D2A-851B-4B6CA0AC7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47">
                <a:extLst>
                  <a:ext uri="{FF2B5EF4-FFF2-40B4-BE49-F238E27FC236}">
                    <a16:creationId xmlns:a16="http://schemas.microsoft.com/office/drawing/2014/main" id="{2A869CC9-D00E-4B5B-8618-DAEA0385DB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48">
                <a:extLst>
                  <a:ext uri="{FF2B5EF4-FFF2-40B4-BE49-F238E27FC236}">
                    <a16:creationId xmlns:a16="http://schemas.microsoft.com/office/drawing/2014/main" id="{EF1A2267-ECF4-4E34-829B-BCE1C7E46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49">
                <a:extLst>
                  <a:ext uri="{FF2B5EF4-FFF2-40B4-BE49-F238E27FC236}">
                    <a16:creationId xmlns:a16="http://schemas.microsoft.com/office/drawing/2014/main" id="{F7177067-8DDA-4E7B-8E9C-3799DC017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50">
                <a:extLst>
                  <a:ext uri="{FF2B5EF4-FFF2-40B4-BE49-F238E27FC236}">
                    <a16:creationId xmlns:a16="http://schemas.microsoft.com/office/drawing/2014/main" id="{1A2DE3E3-160F-4073-B39F-222A01FB8F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51">
                <a:extLst>
                  <a:ext uri="{FF2B5EF4-FFF2-40B4-BE49-F238E27FC236}">
                    <a16:creationId xmlns:a16="http://schemas.microsoft.com/office/drawing/2014/main" id="{7474B991-A4E7-4039-8DE1-2EA4AF0F36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52">
                <a:extLst>
                  <a:ext uri="{FF2B5EF4-FFF2-40B4-BE49-F238E27FC236}">
                    <a16:creationId xmlns:a16="http://schemas.microsoft.com/office/drawing/2014/main" id="{9897C9DF-D641-44B5-9D22-1A61A64FB2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53">
                <a:extLst>
                  <a:ext uri="{FF2B5EF4-FFF2-40B4-BE49-F238E27FC236}">
                    <a16:creationId xmlns:a16="http://schemas.microsoft.com/office/drawing/2014/main" id="{A917BA7C-83C6-4E64-8F39-964066D9E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54">
                <a:extLst>
                  <a:ext uri="{FF2B5EF4-FFF2-40B4-BE49-F238E27FC236}">
                    <a16:creationId xmlns:a16="http://schemas.microsoft.com/office/drawing/2014/main" id="{F71D243A-28DC-4C9C-A43E-041EE0ACE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55">
                <a:extLst>
                  <a:ext uri="{FF2B5EF4-FFF2-40B4-BE49-F238E27FC236}">
                    <a16:creationId xmlns:a16="http://schemas.microsoft.com/office/drawing/2014/main" id="{823FEA9F-83F4-49FA-A6C0-B2543D3126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56">
                <a:extLst>
                  <a:ext uri="{FF2B5EF4-FFF2-40B4-BE49-F238E27FC236}">
                    <a16:creationId xmlns:a16="http://schemas.microsoft.com/office/drawing/2014/main" id="{8A839DA6-8CED-4834-B2EE-91AC909C3C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57">
                <a:extLst>
                  <a:ext uri="{FF2B5EF4-FFF2-40B4-BE49-F238E27FC236}">
                    <a16:creationId xmlns:a16="http://schemas.microsoft.com/office/drawing/2014/main" id="{10F27B53-5C6F-469E-B826-DD9B028CE8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59">
                <a:extLst>
                  <a:ext uri="{FF2B5EF4-FFF2-40B4-BE49-F238E27FC236}">
                    <a16:creationId xmlns:a16="http://schemas.microsoft.com/office/drawing/2014/main" id="{404A4026-E72C-4EAA-BB8C-4A14F41DBF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60">
                <a:extLst>
                  <a:ext uri="{FF2B5EF4-FFF2-40B4-BE49-F238E27FC236}">
                    <a16:creationId xmlns:a16="http://schemas.microsoft.com/office/drawing/2014/main" id="{9AC852EB-EBFE-4184-9CAA-60E6D498F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161">
                <a:extLst>
                  <a:ext uri="{FF2B5EF4-FFF2-40B4-BE49-F238E27FC236}">
                    <a16:creationId xmlns:a16="http://schemas.microsoft.com/office/drawing/2014/main" id="{F899292D-21F9-4AC6-9D5F-393DAB02E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62">
                <a:extLst>
                  <a:ext uri="{FF2B5EF4-FFF2-40B4-BE49-F238E27FC236}">
                    <a16:creationId xmlns:a16="http://schemas.microsoft.com/office/drawing/2014/main" id="{680F6959-8D97-407D-AEDB-48C05885B5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65">
                <a:extLst>
                  <a:ext uri="{FF2B5EF4-FFF2-40B4-BE49-F238E27FC236}">
                    <a16:creationId xmlns:a16="http://schemas.microsoft.com/office/drawing/2014/main" id="{B9F68CA7-E66E-49E6-8C63-770F3DAB79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66">
                <a:extLst>
                  <a:ext uri="{FF2B5EF4-FFF2-40B4-BE49-F238E27FC236}">
                    <a16:creationId xmlns:a16="http://schemas.microsoft.com/office/drawing/2014/main" id="{FD025EF2-49A0-4B68-9F7C-8CCF4E255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67">
                <a:extLst>
                  <a:ext uri="{FF2B5EF4-FFF2-40B4-BE49-F238E27FC236}">
                    <a16:creationId xmlns:a16="http://schemas.microsoft.com/office/drawing/2014/main" id="{F9851692-B9F0-4EFC-83F2-20C3C931D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68">
                <a:extLst>
                  <a:ext uri="{FF2B5EF4-FFF2-40B4-BE49-F238E27FC236}">
                    <a16:creationId xmlns:a16="http://schemas.microsoft.com/office/drawing/2014/main" id="{BAAEDA3C-A4C4-491D-A7F0-AEA4C16A2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69">
                <a:extLst>
                  <a:ext uri="{FF2B5EF4-FFF2-40B4-BE49-F238E27FC236}">
                    <a16:creationId xmlns:a16="http://schemas.microsoft.com/office/drawing/2014/main" id="{9FDD51BE-88F2-44EF-AEF7-0DFD48BBC7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70">
                <a:extLst>
                  <a:ext uri="{FF2B5EF4-FFF2-40B4-BE49-F238E27FC236}">
                    <a16:creationId xmlns:a16="http://schemas.microsoft.com/office/drawing/2014/main" id="{2F6B5CFC-2C6B-49DB-9864-8552C9FF31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71">
                <a:extLst>
                  <a:ext uri="{FF2B5EF4-FFF2-40B4-BE49-F238E27FC236}">
                    <a16:creationId xmlns:a16="http://schemas.microsoft.com/office/drawing/2014/main" id="{1CB658FC-AD46-4A1B-A187-48BB1C10FB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72">
                <a:extLst>
                  <a:ext uri="{FF2B5EF4-FFF2-40B4-BE49-F238E27FC236}">
                    <a16:creationId xmlns:a16="http://schemas.microsoft.com/office/drawing/2014/main" id="{83152956-B218-466B-BF05-09EADF498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73">
                <a:extLst>
                  <a:ext uri="{FF2B5EF4-FFF2-40B4-BE49-F238E27FC236}">
                    <a16:creationId xmlns:a16="http://schemas.microsoft.com/office/drawing/2014/main" id="{645346E5-4B9B-438D-819F-3F099284A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74">
                <a:extLst>
                  <a:ext uri="{FF2B5EF4-FFF2-40B4-BE49-F238E27FC236}">
                    <a16:creationId xmlns:a16="http://schemas.microsoft.com/office/drawing/2014/main" id="{685DE37E-B287-44E9-B7DB-A68D7AEBB5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75">
                <a:extLst>
                  <a:ext uri="{FF2B5EF4-FFF2-40B4-BE49-F238E27FC236}">
                    <a16:creationId xmlns:a16="http://schemas.microsoft.com/office/drawing/2014/main" id="{946F6D49-B9C1-4583-B8D0-865B398C1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76">
                <a:extLst>
                  <a:ext uri="{FF2B5EF4-FFF2-40B4-BE49-F238E27FC236}">
                    <a16:creationId xmlns:a16="http://schemas.microsoft.com/office/drawing/2014/main" id="{8D15F5C3-DC8F-4789-8080-1105F437E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77">
                <a:extLst>
                  <a:ext uri="{FF2B5EF4-FFF2-40B4-BE49-F238E27FC236}">
                    <a16:creationId xmlns:a16="http://schemas.microsoft.com/office/drawing/2014/main" id="{FB4F6055-8FEC-4DD2-B292-5892B155AC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78">
                <a:extLst>
                  <a:ext uri="{FF2B5EF4-FFF2-40B4-BE49-F238E27FC236}">
                    <a16:creationId xmlns:a16="http://schemas.microsoft.com/office/drawing/2014/main" id="{32E9B4A5-EB88-488D-B92A-C95CAF1DF6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79">
                <a:extLst>
                  <a:ext uri="{FF2B5EF4-FFF2-40B4-BE49-F238E27FC236}">
                    <a16:creationId xmlns:a16="http://schemas.microsoft.com/office/drawing/2014/main" id="{A064AA5A-9778-4DE1-A291-BEB08548DE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80">
                <a:extLst>
                  <a:ext uri="{FF2B5EF4-FFF2-40B4-BE49-F238E27FC236}">
                    <a16:creationId xmlns:a16="http://schemas.microsoft.com/office/drawing/2014/main" id="{5A01B7FC-AD3F-4747-87BA-9EACD78D3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81">
                <a:extLst>
                  <a:ext uri="{FF2B5EF4-FFF2-40B4-BE49-F238E27FC236}">
                    <a16:creationId xmlns:a16="http://schemas.microsoft.com/office/drawing/2014/main" id="{F4224B81-E806-4717-824A-2EF5BF704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05" name="Title 1">
            <a:extLst>
              <a:ext uri="{FF2B5EF4-FFF2-40B4-BE49-F238E27FC236}">
                <a16:creationId xmlns:a16="http://schemas.microsoft.com/office/drawing/2014/main" id="{338FA5A1-4C24-431E-9DF9-BB4658958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60874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207" name="Text Placeholder 14">
            <a:extLst>
              <a:ext uri="{FF2B5EF4-FFF2-40B4-BE49-F238E27FC236}">
                <a16:creationId xmlns:a16="http://schemas.microsoft.com/office/drawing/2014/main" id="{38861AA1-9168-48AE-A5FB-20B7874EA1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208" name="Text Placeholder 7">
            <a:extLst>
              <a:ext uri="{FF2B5EF4-FFF2-40B4-BE49-F238E27FC236}">
                <a16:creationId xmlns:a16="http://schemas.microsoft.com/office/drawing/2014/main" id="{76696854-45C2-47ED-AE25-3F7D111269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32356673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" name="Group 204">
            <a:extLst>
              <a:ext uri="{FF2B5EF4-FFF2-40B4-BE49-F238E27FC236}">
                <a16:creationId xmlns:a16="http://schemas.microsoft.com/office/drawing/2014/main" id="{9894B65C-47EE-441D-9C9E-ED3619F60133}"/>
              </a:ext>
            </a:extLst>
          </p:cNvPr>
          <p:cNvGrpSpPr/>
          <p:nvPr userDrawn="1"/>
        </p:nvGrpSpPr>
        <p:grpSpPr>
          <a:xfrm>
            <a:off x="3786692" y="2059284"/>
            <a:ext cx="4618616" cy="3647498"/>
            <a:chOff x="6106507" y="2425967"/>
            <a:chExt cx="4977670" cy="3799599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3FE239D1-6C49-458B-92D5-A7CE09DAD943}"/>
                </a:ext>
              </a:extLst>
            </p:cNvPr>
            <p:cNvSpPr/>
            <p:nvPr userDrawn="1"/>
          </p:nvSpPr>
          <p:spPr>
            <a:xfrm>
              <a:off x="6258401" y="2527300"/>
              <a:ext cx="4673883" cy="2781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7" name="Picture 206">
              <a:extLst>
                <a:ext uri="{FF2B5EF4-FFF2-40B4-BE49-F238E27FC236}">
                  <a16:creationId xmlns:a16="http://schemas.microsoft.com/office/drawing/2014/main" id="{7C0C09C0-0025-4724-8A73-CBEE48FB28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6507" y="2425967"/>
              <a:ext cx="4977670" cy="3799599"/>
            </a:xfrm>
            <a:prstGeom prst="rect">
              <a:avLst/>
            </a:prstGeom>
          </p:spPr>
        </p:pic>
      </p:grpSp>
      <p:sp>
        <p:nvSpPr>
          <p:cNvPr id="208" name="Picture Placeholder 6">
            <a:extLst>
              <a:ext uri="{FF2B5EF4-FFF2-40B4-BE49-F238E27FC236}">
                <a16:creationId xmlns:a16="http://schemas.microsoft.com/office/drawing/2014/main" id="{61C90401-B270-4702-8339-84FA77E3B11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971950" y="2254094"/>
            <a:ext cx="4248098" cy="247489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screenshot</a:t>
            </a:r>
          </a:p>
        </p:txBody>
      </p:sp>
      <p:sp>
        <p:nvSpPr>
          <p:cNvPr id="209" name="Title 1">
            <a:extLst>
              <a:ext uri="{FF2B5EF4-FFF2-40B4-BE49-F238E27FC236}">
                <a16:creationId xmlns:a16="http://schemas.microsoft.com/office/drawing/2014/main" id="{039430D7-86EA-45D4-B9D6-5CF1D887A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80" y="761436"/>
            <a:ext cx="11254520" cy="112634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3200" b="1" i="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TITLE: ARIAL BOLD 32PT, ROTUNDA ORANG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4D1FBFD-9542-457B-B5CC-DB9C95CA01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400" b="1" i="0" cap="all" spc="300" baseline="0">
                <a:solidFill>
                  <a:srgbClr val="232D4B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01 | SECTION HEADER: ARIAL BOLD 14PT, Jefferson Blu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037E049-67B5-43B1-92C1-636F720246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107" y="5878285"/>
            <a:ext cx="11253787" cy="3939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Footer/Source: Arial 9 </a:t>
            </a:r>
            <a:r>
              <a:rPr lang="en-US" err="1"/>
              <a:t>pt</a:t>
            </a:r>
            <a:r>
              <a:rPr lang="en-US"/>
              <a:t>, Gray</a:t>
            </a:r>
          </a:p>
        </p:txBody>
      </p:sp>
    </p:spTree>
    <p:extLst>
      <p:ext uri="{BB962C8B-B14F-4D97-AF65-F5344CB8AC3E}">
        <p14:creationId xmlns:p14="http://schemas.microsoft.com/office/powerpoint/2010/main" val="1699334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F4DF262-3F40-4C59-AD80-63B781EC1CBE}"/>
              </a:ext>
            </a:extLst>
          </p:cNvPr>
          <p:cNvSpPr/>
          <p:nvPr userDrawn="1"/>
        </p:nvSpPr>
        <p:spPr>
          <a:xfrm>
            <a:off x="195072" y="192024"/>
            <a:ext cx="11801856" cy="6473952"/>
          </a:xfrm>
          <a:prstGeom prst="rect">
            <a:avLst/>
          </a:prstGeom>
          <a:solidFill>
            <a:srgbClr val="E77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18" y="191760"/>
            <a:ext cx="11807564" cy="64744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562" y="5484443"/>
            <a:ext cx="3922046" cy="889664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55444" y="2337847"/>
            <a:ext cx="9281112" cy="1207383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100000"/>
              </a:lnSpc>
              <a:defRPr sz="3600" b="1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ENDING: ARIAL BOLD 36PT, WHITE.</a:t>
            </a:r>
          </a:p>
        </p:txBody>
      </p:sp>
    </p:spTree>
    <p:extLst>
      <p:ext uri="{BB962C8B-B14F-4D97-AF65-F5344CB8AC3E}">
        <p14:creationId xmlns:p14="http://schemas.microsoft.com/office/powerpoint/2010/main" val="1068860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A6D101-3ABB-4368-810F-A424A16B8373}"/>
              </a:ext>
            </a:extLst>
          </p:cNvPr>
          <p:cNvCxnSpPr/>
          <p:nvPr userDrawn="1"/>
        </p:nvCxnSpPr>
        <p:spPr>
          <a:xfrm>
            <a:off x="471444" y="2892150"/>
            <a:ext cx="0" cy="32519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BB9AE06-F806-4577-A36F-841E591F72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7163" y="3845859"/>
            <a:ext cx="3383280" cy="7451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800" b="1" cap="all" spc="3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pPr lvl="0"/>
            <a:r>
              <a:rPr lang="en-US"/>
              <a:t>Section Header option 1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2386B0C1-198B-4E80-82BB-802DE008FA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165" y="4656697"/>
            <a:ext cx="3383280" cy="7036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r>
              <a:rPr lang="en-US">
                <a:solidFill>
                  <a:srgbClr val="E77324"/>
                </a:solidFill>
              </a:rPr>
              <a:t>Subsection Title:</a:t>
            </a:r>
          </a:p>
          <a:p>
            <a:r>
              <a:rPr lang="en-US">
                <a:solidFill>
                  <a:srgbClr val="E77324"/>
                </a:solidFill>
              </a:rPr>
              <a:t>Arial Bold 14pt, Rotunda Orange</a:t>
            </a:r>
          </a:p>
        </p:txBody>
      </p:sp>
      <p:sp>
        <p:nvSpPr>
          <p:cNvPr id="7" name="Text Placeholder 34">
            <a:extLst>
              <a:ext uri="{FF2B5EF4-FFF2-40B4-BE49-F238E27FC236}">
                <a16:creationId xmlns:a16="http://schemas.microsoft.com/office/drawing/2014/main" id="{E34B2576-F482-4A10-A494-ABBA405878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7165" y="2979868"/>
            <a:ext cx="3383280" cy="8003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200" b="1">
                <a:solidFill>
                  <a:srgbClr val="232D4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48843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3FD3BA9-630D-4626-8036-B7C17FE2FDA7}"/>
              </a:ext>
            </a:extLst>
          </p:cNvPr>
          <p:cNvCxnSpPr/>
          <p:nvPr userDrawn="1"/>
        </p:nvCxnSpPr>
        <p:spPr>
          <a:xfrm>
            <a:off x="4226162" y="2892150"/>
            <a:ext cx="0" cy="32519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6DD713D-827A-49D1-AB97-8425D82521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1879" y="3845859"/>
            <a:ext cx="3383280" cy="7451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800" b="1" cap="all" spc="3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pPr lvl="0"/>
            <a:r>
              <a:rPr lang="en-US"/>
              <a:t>Section Header option 2</a:t>
            </a:r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E2B240EB-CAE3-43D1-9547-1BBEC05E5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1881" y="4656697"/>
            <a:ext cx="3383280" cy="7036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r>
              <a:rPr lang="en-US">
                <a:solidFill>
                  <a:srgbClr val="E77324"/>
                </a:solidFill>
              </a:rPr>
              <a:t>Subsection Title:</a:t>
            </a:r>
          </a:p>
          <a:p>
            <a:r>
              <a:rPr lang="en-US">
                <a:solidFill>
                  <a:srgbClr val="E77324"/>
                </a:solidFill>
              </a:rPr>
              <a:t>Arial Bold 14pt, Rotunda Orange</a:t>
            </a:r>
          </a:p>
        </p:txBody>
      </p:sp>
      <p:sp>
        <p:nvSpPr>
          <p:cNvPr id="6" name="Text Placeholder 34">
            <a:extLst>
              <a:ext uri="{FF2B5EF4-FFF2-40B4-BE49-F238E27FC236}">
                <a16:creationId xmlns:a16="http://schemas.microsoft.com/office/drawing/2014/main" id="{6EEF99F9-02A5-49AF-AA7A-C1DE78EDD8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1881" y="2979868"/>
            <a:ext cx="3383280" cy="8003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200" b="1">
                <a:solidFill>
                  <a:srgbClr val="232D4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815943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2FC82F8-7562-40A8-B73C-426D5B61C4A4}"/>
              </a:ext>
            </a:extLst>
          </p:cNvPr>
          <p:cNvCxnSpPr/>
          <p:nvPr userDrawn="1"/>
        </p:nvCxnSpPr>
        <p:spPr>
          <a:xfrm>
            <a:off x="7980880" y="2892150"/>
            <a:ext cx="0" cy="3251967"/>
          </a:xfrm>
          <a:prstGeom prst="line">
            <a:avLst/>
          </a:prstGeom>
          <a:ln w="12700">
            <a:solidFill>
              <a:srgbClr val="1E3A7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1BDC6547-7D66-4391-8B4F-9E845059D3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66599" y="3850237"/>
            <a:ext cx="3383280" cy="7451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1800" b="1" cap="all" spc="3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pPr lvl="0"/>
            <a:r>
              <a:rPr lang="en-US"/>
              <a:t>Section Header option 3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0EBB5183-35E7-4474-82A7-D44BFB291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6601" y="4661075"/>
            <a:ext cx="3383280" cy="7036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 b="1" cap="all" baseline="0">
                <a:solidFill>
                  <a:srgbClr val="E77324"/>
                </a:solidFill>
              </a:defRPr>
            </a:lvl2pPr>
            <a:lvl3pPr marL="914400" indent="0">
              <a:buNone/>
              <a:defRPr sz="1800" b="1" cap="all" baseline="0">
                <a:solidFill>
                  <a:srgbClr val="E77324"/>
                </a:solidFill>
              </a:defRPr>
            </a:lvl3pPr>
            <a:lvl4pPr marL="1371600" indent="0">
              <a:buNone/>
              <a:defRPr sz="1800" b="1" cap="all" baseline="0">
                <a:solidFill>
                  <a:srgbClr val="E77324"/>
                </a:solidFill>
              </a:defRPr>
            </a:lvl4pPr>
            <a:lvl5pPr marL="1828800" indent="0">
              <a:buNone/>
              <a:defRPr sz="1800" b="1" cap="all" baseline="0">
                <a:solidFill>
                  <a:srgbClr val="E77324"/>
                </a:solidFill>
              </a:defRPr>
            </a:lvl5pPr>
          </a:lstStyle>
          <a:p>
            <a:r>
              <a:rPr lang="en-US">
                <a:solidFill>
                  <a:srgbClr val="E77324"/>
                </a:solidFill>
              </a:rPr>
              <a:t>Subsection Title:</a:t>
            </a:r>
          </a:p>
          <a:p>
            <a:r>
              <a:rPr lang="en-US">
                <a:solidFill>
                  <a:srgbClr val="E77324"/>
                </a:solidFill>
              </a:rPr>
              <a:t>Arial Bold 14pt, Rotunda Orange</a:t>
            </a:r>
          </a:p>
        </p:txBody>
      </p:sp>
      <p:sp>
        <p:nvSpPr>
          <p:cNvPr id="6" name="Text Placeholder 34">
            <a:extLst>
              <a:ext uri="{FF2B5EF4-FFF2-40B4-BE49-F238E27FC236}">
                <a16:creationId xmlns:a16="http://schemas.microsoft.com/office/drawing/2014/main" id="{3A5416C5-0881-4D8A-A946-E5974700BE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66599" y="2979868"/>
            <a:ext cx="3383280" cy="8003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200" b="1">
                <a:solidFill>
                  <a:srgbClr val="232D4B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958880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01C9F5C-6466-4BC1-99DE-1AF5254E84D9}"/>
              </a:ext>
            </a:extLst>
          </p:cNvPr>
          <p:cNvSpPr/>
          <p:nvPr userDrawn="1"/>
        </p:nvSpPr>
        <p:spPr>
          <a:xfrm>
            <a:off x="219224" y="192024"/>
            <a:ext cx="11777703" cy="6473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280" y="2173015"/>
            <a:ext cx="11254520" cy="4095810"/>
          </a:xfrm>
          <a:prstGeom prst="rect">
            <a:avLst/>
          </a:prstGeom>
        </p:spPr>
        <p:txBody>
          <a:bodyPr lIns="0" rIns="0"/>
          <a:lstStyle>
            <a:lvl1pPr algn="l">
              <a:lnSpc>
                <a:spcPct val="100000"/>
              </a:lnSpc>
              <a:defRPr sz="3600" b="1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ECTION DIVIDER: ARIAL BOLD 36PT, WHIT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2EB127C8-06AA-469B-9A91-2E0C590140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600" b="1" i="0" spc="3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r>
              <a:rPr lang="en-US"/>
              <a:t>HEADER: ARIAL BOLD 16PT, WHITE</a:t>
            </a:r>
          </a:p>
        </p:txBody>
      </p:sp>
    </p:spTree>
    <p:extLst>
      <p:ext uri="{BB962C8B-B14F-4D97-AF65-F5344CB8AC3E}">
        <p14:creationId xmlns:p14="http://schemas.microsoft.com/office/powerpoint/2010/main" val="1833508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219808F-C59B-4CD9-9B42-3AD929B57421}"/>
              </a:ext>
            </a:extLst>
          </p:cNvPr>
          <p:cNvSpPr/>
          <p:nvPr userDrawn="1"/>
        </p:nvSpPr>
        <p:spPr>
          <a:xfrm>
            <a:off x="195072" y="192024"/>
            <a:ext cx="11801856" cy="6473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280" y="1084083"/>
            <a:ext cx="11254520" cy="2272303"/>
          </a:xfrm>
          <a:prstGeom prst="rect">
            <a:avLst/>
          </a:prstGeom>
        </p:spPr>
        <p:txBody>
          <a:bodyPr lIns="0" rIns="0" anchor="b"/>
          <a:lstStyle>
            <a:lvl1pPr>
              <a:lnSpc>
                <a:spcPct val="100000"/>
              </a:lnSpc>
              <a:defRPr sz="3600" b="1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ECTION DIVIDER: ARIAL BOLD 36PT, WHI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80280" y="3539266"/>
            <a:ext cx="11254520" cy="28144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2400" spc="0" baseline="0">
                <a:solidFill>
                  <a:schemeClr val="bg1"/>
                </a:solidFill>
                <a:latin typeface="+mj-lt"/>
                <a:ea typeface="Times New Roman" charset="0"/>
                <a:cs typeface="Times New Roman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Body text: Times New Roman 24pt, Whit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E95DDEAF-149F-4B43-B4BE-348183B83F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1600" b="1" i="0" spc="3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lnSpc>
                <a:spcPct val="100000"/>
              </a:lnSpc>
              <a:buNone/>
              <a:defRPr sz="1400" b="1" i="0" spc="300">
                <a:solidFill>
                  <a:srgbClr val="1E3A74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r>
              <a:rPr lang="en-US"/>
              <a:t>HEADER: ARIAL BOLD 16PT, WHITE</a:t>
            </a:r>
          </a:p>
        </p:txBody>
      </p:sp>
    </p:spTree>
    <p:extLst>
      <p:ext uri="{BB962C8B-B14F-4D97-AF65-F5344CB8AC3E}">
        <p14:creationId xmlns:p14="http://schemas.microsoft.com/office/powerpoint/2010/main" val="1819470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1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642637-3727-9B4D-4E69-873C7C341C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988324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6" imgW="501" imgH="501" progId="TCLayout.ActiveDocument.1">
                  <p:embed/>
                </p:oleObj>
              </mc:Choice>
              <mc:Fallback>
                <p:oleObj name="think-cell Slide" r:id="rId46" imgW="501" imgH="5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642637-3727-9B4D-4E69-873C7C341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72FBFEB-1AAC-4387-B5EE-B4F7AB494B8E}"/>
              </a:ext>
            </a:extLst>
          </p:cNvPr>
          <p:cNvCxnSpPr/>
          <p:nvPr userDrawn="1"/>
        </p:nvCxnSpPr>
        <p:spPr>
          <a:xfrm flipH="1">
            <a:off x="575979" y="6549313"/>
            <a:ext cx="11040043" cy="0"/>
          </a:xfrm>
          <a:prstGeom prst="line">
            <a:avLst/>
          </a:prstGeom>
          <a:ln w="9525" cmpd="sng">
            <a:solidFill>
              <a:srgbClr val="E773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4E0F460A-2954-47DB-B141-66A96EA9179B}"/>
              </a:ext>
            </a:extLst>
          </p:cNvPr>
          <p:cNvSpPr txBox="1"/>
          <p:nvPr userDrawn="1"/>
        </p:nvSpPr>
        <p:spPr>
          <a:xfrm>
            <a:off x="11616728" y="6394475"/>
            <a:ext cx="527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9FC1F18A-2504-464E-BC8E-062F35221589}" type="slidenum">
              <a:rPr lang="en-US" sz="1200" b="1" smtClean="0">
                <a:solidFill>
                  <a:srgbClr val="E77324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1400" b="1">
              <a:solidFill>
                <a:srgbClr val="E77324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009F9B-85A9-4392-A75D-AD611B23D05D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196972" y="6402162"/>
            <a:ext cx="260228" cy="26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32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733" r:id="rId2"/>
    <p:sldLayoutId id="2147483672" r:id="rId3"/>
    <p:sldLayoutId id="2147483683" r:id="rId4"/>
    <p:sldLayoutId id="2147483673" r:id="rId5"/>
    <p:sldLayoutId id="2147483674" r:id="rId6"/>
    <p:sldLayoutId id="2147483675" r:id="rId7"/>
    <p:sldLayoutId id="2147483654" r:id="rId8"/>
    <p:sldLayoutId id="2147483656" r:id="rId9"/>
    <p:sldLayoutId id="2147483727" r:id="rId10"/>
    <p:sldLayoutId id="2147483693" r:id="rId11"/>
    <p:sldLayoutId id="2147483720" r:id="rId12"/>
    <p:sldLayoutId id="2147483725" r:id="rId13"/>
    <p:sldLayoutId id="2147483695" r:id="rId14"/>
    <p:sldLayoutId id="2147483692" r:id="rId15"/>
    <p:sldLayoutId id="2147483696" r:id="rId16"/>
    <p:sldLayoutId id="2147483697" r:id="rId17"/>
    <p:sldLayoutId id="2147483699" r:id="rId18"/>
    <p:sldLayoutId id="2147483698" r:id="rId19"/>
    <p:sldLayoutId id="2147483700" r:id="rId20"/>
    <p:sldLayoutId id="2147483701" r:id="rId21"/>
    <p:sldLayoutId id="2147483669" r:id="rId22"/>
    <p:sldLayoutId id="2147483670" r:id="rId23"/>
    <p:sldLayoutId id="2147483671" r:id="rId24"/>
    <p:sldLayoutId id="2147483730" r:id="rId25"/>
    <p:sldLayoutId id="2147483704" r:id="rId26"/>
    <p:sldLayoutId id="2147483706" r:id="rId27"/>
    <p:sldLayoutId id="2147483707" r:id="rId28"/>
    <p:sldLayoutId id="2147483708" r:id="rId29"/>
    <p:sldLayoutId id="2147483709" r:id="rId30"/>
    <p:sldLayoutId id="2147483703" r:id="rId31"/>
    <p:sldLayoutId id="2147483705" r:id="rId32"/>
    <p:sldLayoutId id="2147483732" r:id="rId33"/>
    <p:sldLayoutId id="2147483710" r:id="rId34"/>
    <p:sldLayoutId id="2147483711" r:id="rId35"/>
    <p:sldLayoutId id="2147483712" r:id="rId36"/>
    <p:sldLayoutId id="2147483713" r:id="rId37"/>
    <p:sldLayoutId id="2147483714" r:id="rId38"/>
    <p:sldLayoutId id="2147483726" r:id="rId39"/>
    <p:sldLayoutId id="2147483715" r:id="rId40"/>
    <p:sldLayoutId id="2147483716" r:id="rId41"/>
    <p:sldLayoutId id="2147483668" r:id="rId4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4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392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3768" userDrawn="1">
          <p15:clr>
            <a:srgbClr val="F26B43"/>
          </p15:clr>
        </p15:guide>
        <p15:guide id="6" pos="3912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orient="horz" pos="41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9.xml"/><Relationship Id="rId7" Type="http://schemas.openxmlformats.org/officeDocument/2006/relationships/image" Target="../media/image2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tags" Target="../tags/tag17.xml"/><Relationship Id="rId7" Type="http://schemas.openxmlformats.org/officeDocument/2006/relationships/image" Target="../media/image5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5.png"/><Relationship Id="rId7" Type="http://schemas.openxmlformats.org/officeDocument/2006/relationships/image" Target="../media/image67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0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3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12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1.xml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3BEB27-9FDC-2A39-5258-FC60909FB3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361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3BEB27-9FDC-2A39-5258-FC60909FB3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881384-1DA8-46B9-A206-B7CDBDDE7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mes Housing Price Predi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E6B358-6009-4239-929B-222F228FEA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45720" rIns="0" bIns="45720" anchor="ctr">
            <a:normAutofit/>
          </a:bodyPr>
          <a:lstStyle/>
          <a:p>
            <a:r>
              <a:rPr lang="en-US">
                <a:cs typeface="Times New Roman"/>
              </a:rPr>
              <a:t>Sean Godfrey | Sai Prabhu Kalva | Fernando Salazar | Katrina Li | Ben Wilson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B95B5AC0-8370-4A01-9FBE-A9E43127A16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/>
          <a:srcRect l="351" r="351"/>
          <a:stretch>
            <a:fillRect/>
          </a:stretch>
        </p:blipFill>
        <p:spPr/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C71436A1-E10A-4935-9EE5-40D3628B0151}"/>
              </a:ext>
            </a:extLst>
          </p:cNvPr>
          <p:cNvGrpSpPr/>
          <p:nvPr/>
        </p:nvGrpSpPr>
        <p:grpSpPr>
          <a:xfrm>
            <a:off x="457200" y="6222206"/>
            <a:ext cx="11277600" cy="307777"/>
            <a:chOff x="457200" y="6222206"/>
            <a:chExt cx="11277600" cy="30777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DE7004-C491-48EE-9626-B1A3912954E7}"/>
                </a:ext>
              </a:extLst>
            </p:cNvPr>
            <p:cNvSpPr txBox="1"/>
            <p:nvPr/>
          </p:nvSpPr>
          <p:spPr>
            <a:xfrm>
              <a:off x="457200" y="6222206"/>
              <a:ext cx="29913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spc="300">
                  <a:solidFill>
                    <a:schemeClr val="bg1"/>
                  </a:solidFill>
                </a:rPr>
                <a:t>CHARLOTTESVILLE, VA 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148E604-AA82-4718-BFEA-6888B0EFEFDD}"/>
                </a:ext>
              </a:extLst>
            </p:cNvPr>
            <p:cNvSpPr txBox="1"/>
            <p:nvPr/>
          </p:nvSpPr>
          <p:spPr>
            <a:xfrm>
              <a:off x="3671388" y="6222206"/>
              <a:ext cx="253201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spc="300">
                  <a:solidFill>
                    <a:schemeClr val="bg1"/>
                  </a:solidFill>
                </a:rPr>
                <a:t>WASHINGTON, DC 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B1F25D-5E80-490E-8AAE-70F969A20D49}"/>
                </a:ext>
              </a:extLst>
            </p:cNvPr>
            <p:cNvSpPr txBox="1"/>
            <p:nvPr/>
          </p:nvSpPr>
          <p:spPr>
            <a:xfrm>
              <a:off x="6426200" y="6222206"/>
              <a:ext cx="26953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spc="300">
                  <a:solidFill>
                    <a:schemeClr val="bg1"/>
                  </a:solidFill>
                </a:rPr>
                <a:t>SAN FRANCISCO, CA 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3809314-A8A3-4950-92B8-9A0FCEF81BB0}"/>
                </a:ext>
              </a:extLst>
            </p:cNvPr>
            <p:cNvSpPr txBox="1"/>
            <p:nvPr/>
          </p:nvSpPr>
          <p:spPr>
            <a:xfrm>
              <a:off x="9344296" y="6222206"/>
              <a:ext cx="23905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spc="300">
                  <a:solidFill>
                    <a:schemeClr val="bg1"/>
                  </a:solidFill>
                </a:rPr>
                <a:t>SHANGHAI, CHINA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5ABC849-15EF-422A-9076-73682C3ACF57}"/>
                </a:ext>
              </a:extLst>
            </p:cNvPr>
            <p:cNvCxnSpPr>
              <a:cxnSpLocks/>
            </p:cNvCxnSpPr>
            <p:nvPr/>
          </p:nvCxnSpPr>
          <p:spPr>
            <a:xfrm>
              <a:off x="3559991" y="6304869"/>
              <a:ext cx="0" cy="16430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B73B405-09AB-426B-A7CD-9055256CBB80}"/>
                </a:ext>
              </a:extLst>
            </p:cNvPr>
            <p:cNvCxnSpPr>
              <a:cxnSpLocks/>
            </p:cNvCxnSpPr>
            <p:nvPr/>
          </p:nvCxnSpPr>
          <p:spPr>
            <a:xfrm>
              <a:off x="6314803" y="6304869"/>
              <a:ext cx="0" cy="16430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44C9503-1173-430F-B9A9-E29E972770D0}"/>
                </a:ext>
              </a:extLst>
            </p:cNvPr>
            <p:cNvCxnSpPr>
              <a:cxnSpLocks/>
            </p:cNvCxnSpPr>
            <p:nvPr/>
          </p:nvCxnSpPr>
          <p:spPr>
            <a:xfrm>
              <a:off x="9232901" y="6304869"/>
              <a:ext cx="0" cy="16430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7B5EA72-F9C3-9F4B-9A3C-87063DD40A86}"/>
              </a:ext>
            </a:extLst>
          </p:cNvPr>
          <p:cNvSpPr txBox="1">
            <a:spLocks/>
          </p:cNvSpPr>
          <p:nvPr/>
        </p:nvSpPr>
        <p:spPr>
          <a:xfrm>
            <a:off x="513032" y="4813049"/>
            <a:ext cx="11133056" cy="773112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lang="en-US" sz="2800" b="0" i="0" kern="1200" baseline="0" dirty="0">
                <a:solidFill>
                  <a:schemeClr val="bg1"/>
                </a:solidFill>
                <a:latin typeface="+mj-lt"/>
                <a:ea typeface="Times New Roman" charset="0"/>
                <a:cs typeface="Times New Roma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b="1"/>
              <a:t>Team 5</a:t>
            </a:r>
          </a:p>
        </p:txBody>
      </p:sp>
    </p:spTree>
    <p:extLst>
      <p:ext uri="{BB962C8B-B14F-4D97-AF65-F5344CB8AC3E}">
        <p14:creationId xmlns:p14="http://schemas.microsoft.com/office/powerpoint/2010/main" val="16567852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ea related variables correla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2 | </a:t>
            </a:r>
            <a:r>
              <a:rPr lang="en-US" err="1"/>
              <a:t>eda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A2CAAB-A90B-2A37-95C1-4E1E85C4AA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F3B634-BC61-21E0-64A9-E857BF3F98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136" y="1983832"/>
            <a:ext cx="7247164" cy="403688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853A8E1-8D71-F7F2-D325-B1FBE9ACB0CB}"/>
              </a:ext>
            </a:extLst>
          </p:cNvPr>
          <p:cNvGrpSpPr/>
          <p:nvPr/>
        </p:nvGrpSpPr>
        <p:grpSpPr>
          <a:xfrm>
            <a:off x="7751161" y="1441448"/>
            <a:ext cx="291426" cy="4579267"/>
            <a:chOff x="5944498" y="1809750"/>
            <a:chExt cx="291426" cy="426783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B806831-FFB7-50BC-F208-E6EE8BE3BF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280E59B-1CD5-3AED-A977-FF189F39B4A6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0743D51-9FF4-49AD-7456-D9E23349540C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Graphic 16">
                <a:extLst>
                  <a:ext uri="{FF2B5EF4-FFF2-40B4-BE49-F238E27FC236}">
                    <a16:creationId xmlns:a16="http://schemas.microsoft.com/office/drawing/2014/main" id="{564EB36D-BDC8-45A6-09AE-931F3927B73E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grpSp>
        <p:nvGrpSpPr>
          <p:cNvPr id="12" name="convertedtitle__637369715831855678">
            <a:extLst>
              <a:ext uri="{FF2B5EF4-FFF2-40B4-BE49-F238E27FC236}">
                <a16:creationId xmlns:a16="http://schemas.microsoft.com/office/drawing/2014/main" id="{A527AADD-1113-DC7A-AFC6-CDBA176355E2}"/>
              </a:ext>
            </a:extLst>
          </p:cNvPr>
          <p:cNvGrpSpPr/>
          <p:nvPr/>
        </p:nvGrpSpPr>
        <p:grpSpPr>
          <a:xfrm>
            <a:off x="8193504" y="1441449"/>
            <a:ext cx="3390379" cy="294093"/>
            <a:chOff x="2832361" y="2160328"/>
            <a:chExt cx="3534683" cy="184982"/>
          </a:xfrm>
        </p:grpSpPr>
        <p:sp>
          <p:nvSpPr>
            <p:cNvPr id="13" name="Arrow: Left-Right 11">
              <a:extLst>
                <a:ext uri="{FF2B5EF4-FFF2-40B4-BE49-F238E27FC236}">
                  <a16:creationId xmlns:a16="http://schemas.microsoft.com/office/drawing/2014/main" id="{3D616A09-E9A6-7112-4320-7F730808CCA7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F9628C0-F80A-EAEB-6D7A-BBE44DE5E804}"/>
                </a:ext>
              </a:extLst>
            </p:cNvPr>
            <p:cNvCxnSpPr>
              <a:stCxn id="13" idx="4"/>
              <a:endCxn id="13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2">
            <a:extLst>
              <a:ext uri="{FF2B5EF4-FFF2-40B4-BE49-F238E27FC236}">
                <a16:creationId xmlns:a16="http://schemas.microsoft.com/office/drawing/2014/main" id="{A8692B0F-E26B-D825-D8D8-6E79CDEA47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3504" y="1850343"/>
            <a:ext cx="3390380" cy="31552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Many of the continuous variables are related to different areas of the house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Are these variables correlated to each other?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 variables don’t show high correlations between each other, which means they can all be useful in model building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8E09B57-100E-1769-DF22-813A3B5DD383}"/>
              </a:ext>
            </a:extLst>
          </p:cNvPr>
          <p:cNvSpPr>
            <a:spLocks noChangeAspect="1"/>
          </p:cNvSpPr>
          <p:nvPr/>
        </p:nvSpPr>
        <p:spPr>
          <a:xfrm>
            <a:off x="693657" y="1315594"/>
            <a:ext cx="400904" cy="400904"/>
          </a:xfrm>
          <a:prstGeom prst="ellipse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1" tIns="35981" rIns="35981" bIns="35981" rtlCol="0" anchor="ctr" anchorCtr="0"/>
          <a:lstStyle/>
          <a:p>
            <a:pPr algn="ctr"/>
            <a:endParaRPr lang="en-US" sz="1099" err="1">
              <a:solidFill>
                <a:srgbClr val="4B4B4B"/>
              </a:solidFill>
            </a:endParaRPr>
          </a:p>
        </p:txBody>
      </p:sp>
      <p:grpSp>
        <p:nvGrpSpPr>
          <p:cNvPr id="18" name="convertedtitle__637369715831706015">
            <a:extLst>
              <a:ext uri="{FF2B5EF4-FFF2-40B4-BE49-F238E27FC236}">
                <a16:creationId xmlns:a16="http://schemas.microsoft.com/office/drawing/2014/main" id="{5E5E2317-2551-B623-D6E7-9D3B44DC10C3}"/>
              </a:ext>
            </a:extLst>
          </p:cNvPr>
          <p:cNvGrpSpPr/>
          <p:nvPr/>
        </p:nvGrpSpPr>
        <p:grpSpPr>
          <a:xfrm>
            <a:off x="282218" y="1441449"/>
            <a:ext cx="7329603" cy="294093"/>
            <a:chOff x="2832361" y="2160328"/>
            <a:chExt cx="3534683" cy="184982"/>
          </a:xfrm>
        </p:grpSpPr>
        <p:sp>
          <p:nvSpPr>
            <p:cNvPr id="19" name="Arrow: Left-Right 8">
              <a:extLst>
                <a:ext uri="{FF2B5EF4-FFF2-40B4-BE49-F238E27FC236}">
                  <a16:creationId xmlns:a16="http://schemas.microsoft.com/office/drawing/2014/main" id="{A4CE9A5A-A619-1947-34C2-93D9F3399892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Plot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519DE3E-5367-C888-1FF0-F8143E6ED2E6}"/>
                </a:ext>
              </a:extLst>
            </p:cNvPr>
            <p:cNvCxnSpPr>
              <a:stCxn id="19" idx="4"/>
              <a:endCxn id="1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4902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Year made range of values can mislea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2 | </a:t>
            </a:r>
            <a:r>
              <a:rPr lang="en-US" err="1"/>
              <a:t>eda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A2CAAB-A90B-2A37-95C1-4E1E85C4AA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853A8E1-8D71-F7F2-D325-B1FBE9ACB0CB}"/>
              </a:ext>
            </a:extLst>
          </p:cNvPr>
          <p:cNvGrpSpPr/>
          <p:nvPr/>
        </p:nvGrpSpPr>
        <p:grpSpPr>
          <a:xfrm>
            <a:off x="7751161" y="1441448"/>
            <a:ext cx="291426" cy="4579267"/>
            <a:chOff x="5944498" y="1809750"/>
            <a:chExt cx="291426" cy="426783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B806831-FFB7-50BC-F208-E6EE8BE3BF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280E59B-1CD5-3AED-A977-FF189F39B4A6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0743D51-9FF4-49AD-7456-D9E23349540C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Graphic 16">
                <a:extLst>
                  <a:ext uri="{FF2B5EF4-FFF2-40B4-BE49-F238E27FC236}">
                    <a16:creationId xmlns:a16="http://schemas.microsoft.com/office/drawing/2014/main" id="{564EB36D-BDC8-45A6-09AE-931F3927B73E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grpSp>
        <p:nvGrpSpPr>
          <p:cNvPr id="12" name="convertedtitle__637369715831855678">
            <a:extLst>
              <a:ext uri="{FF2B5EF4-FFF2-40B4-BE49-F238E27FC236}">
                <a16:creationId xmlns:a16="http://schemas.microsoft.com/office/drawing/2014/main" id="{A527AADD-1113-DC7A-AFC6-CDBA176355E2}"/>
              </a:ext>
            </a:extLst>
          </p:cNvPr>
          <p:cNvGrpSpPr/>
          <p:nvPr/>
        </p:nvGrpSpPr>
        <p:grpSpPr>
          <a:xfrm>
            <a:off x="8193504" y="1441449"/>
            <a:ext cx="3390379" cy="294093"/>
            <a:chOff x="2832361" y="2160328"/>
            <a:chExt cx="3534683" cy="184982"/>
          </a:xfrm>
        </p:grpSpPr>
        <p:sp>
          <p:nvSpPr>
            <p:cNvPr id="13" name="Arrow: Left-Right 11">
              <a:extLst>
                <a:ext uri="{FF2B5EF4-FFF2-40B4-BE49-F238E27FC236}">
                  <a16:creationId xmlns:a16="http://schemas.microsoft.com/office/drawing/2014/main" id="{3D616A09-E9A6-7112-4320-7F730808CCA7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F9628C0-F80A-EAEB-6D7A-BBE44DE5E804}"/>
                </a:ext>
              </a:extLst>
            </p:cNvPr>
            <p:cNvCxnSpPr>
              <a:stCxn id="13" idx="4"/>
              <a:endCxn id="13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2">
            <a:extLst>
              <a:ext uri="{FF2B5EF4-FFF2-40B4-BE49-F238E27FC236}">
                <a16:creationId xmlns:a16="http://schemas.microsoft.com/office/drawing/2014/main" id="{A8692B0F-E26B-D825-D8D8-6E79CDEA47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3504" y="1850343"/>
            <a:ext cx="3390380" cy="26135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 variable </a:t>
            </a:r>
            <a:r>
              <a:rPr lang="en-US" altLang="en-US" sz="1600" err="1">
                <a:solidFill>
                  <a:srgbClr val="2E2E38"/>
                </a:solidFill>
              </a:rPr>
              <a:t>Yr</a:t>
            </a:r>
            <a:r>
              <a:rPr lang="en-US" altLang="en-US" sz="1600">
                <a:solidFill>
                  <a:srgbClr val="2E2E38"/>
                </a:solidFill>
              </a:rPr>
              <a:t> Sold only has years 2005 to 2010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se years might not be a representative sample to project future year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As we know, the housing crisis happened during these yea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8E09B57-100E-1769-DF22-813A3B5DD383}"/>
              </a:ext>
            </a:extLst>
          </p:cNvPr>
          <p:cNvSpPr>
            <a:spLocks noChangeAspect="1"/>
          </p:cNvSpPr>
          <p:nvPr/>
        </p:nvSpPr>
        <p:spPr>
          <a:xfrm>
            <a:off x="693657" y="1315594"/>
            <a:ext cx="400904" cy="400904"/>
          </a:xfrm>
          <a:prstGeom prst="ellipse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1" tIns="35981" rIns="35981" bIns="35981" rtlCol="0" anchor="ctr" anchorCtr="0"/>
          <a:lstStyle/>
          <a:p>
            <a:pPr algn="ctr"/>
            <a:endParaRPr lang="en-US" sz="1099" err="1">
              <a:solidFill>
                <a:srgbClr val="4B4B4B"/>
              </a:solidFill>
            </a:endParaRPr>
          </a:p>
        </p:txBody>
      </p:sp>
      <p:grpSp>
        <p:nvGrpSpPr>
          <p:cNvPr id="18" name="convertedtitle__637369715831706015">
            <a:extLst>
              <a:ext uri="{FF2B5EF4-FFF2-40B4-BE49-F238E27FC236}">
                <a16:creationId xmlns:a16="http://schemas.microsoft.com/office/drawing/2014/main" id="{5E5E2317-2551-B623-D6E7-9D3B44DC10C3}"/>
              </a:ext>
            </a:extLst>
          </p:cNvPr>
          <p:cNvGrpSpPr/>
          <p:nvPr/>
        </p:nvGrpSpPr>
        <p:grpSpPr>
          <a:xfrm>
            <a:off x="282218" y="1441449"/>
            <a:ext cx="7329603" cy="294093"/>
            <a:chOff x="2832361" y="2160328"/>
            <a:chExt cx="3534683" cy="184982"/>
          </a:xfrm>
        </p:grpSpPr>
        <p:sp>
          <p:nvSpPr>
            <p:cNvPr id="19" name="Arrow: Left-Right 8">
              <a:extLst>
                <a:ext uri="{FF2B5EF4-FFF2-40B4-BE49-F238E27FC236}">
                  <a16:creationId xmlns:a16="http://schemas.microsoft.com/office/drawing/2014/main" id="{A4CE9A5A-A619-1947-34C2-93D9F3399892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Plot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519DE3E-5367-C888-1FF0-F8143E6ED2E6}"/>
                </a:ext>
              </a:extLst>
            </p:cNvPr>
            <p:cNvCxnSpPr>
              <a:stCxn id="19" idx="4"/>
              <a:endCxn id="1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3895629-F6E0-8416-1FB8-0C90B5484D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218" y="1901632"/>
            <a:ext cx="7333218" cy="412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440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839CE3-4017-F5DA-CAE5-78AA612B2C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858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839CE3-4017-F5DA-CAE5-78AA612B2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6145CE-3C7F-3704-D7D3-EE51FE312C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2 | </a:t>
            </a:r>
            <a:r>
              <a:rPr lang="en-US" err="1"/>
              <a:t>eda</a:t>
            </a: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F904E2B-5F9A-92A8-A5CE-D7409EAB7F6C}"/>
              </a:ext>
            </a:extLst>
          </p:cNvPr>
          <p:cNvSpPr>
            <a:spLocks noChangeAspect="1"/>
          </p:cNvSpPr>
          <p:nvPr/>
        </p:nvSpPr>
        <p:spPr>
          <a:xfrm>
            <a:off x="693657" y="1315594"/>
            <a:ext cx="400904" cy="400904"/>
          </a:xfrm>
          <a:prstGeom prst="ellipse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1" tIns="35981" rIns="35981" bIns="35981" rtlCol="0" anchor="ctr" anchorCtr="0"/>
          <a:lstStyle/>
          <a:p>
            <a:pPr algn="ctr"/>
            <a:endParaRPr lang="en-US" sz="1099" err="1">
              <a:solidFill>
                <a:srgbClr val="4B4B4B"/>
              </a:solidFill>
            </a:endParaRPr>
          </a:p>
        </p:txBody>
      </p:sp>
      <p:grpSp>
        <p:nvGrpSpPr>
          <p:cNvPr id="8" name="convertedtitle__637369715831706015">
            <a:extLst>
              <a:ext uri="{FF2B5EF4-FFF2-40B4-BE49-F238E27FC236}">
                <a16:creationId xmlns:a16="http://schemas.microsoft.com/office/drawing/2014/main" id="{DDAF540F-682B-E952-37B7-CD85483FE90D}"/>
              </a:ext>
            </a:extLst>
          </p:cNvPr>
          <p:cNvGrpSpPr/>
          <p:nvPr/>
        </p:nvGrpSpPr>
        <p:grpSpPr>
          <a:xfrm>
            <a:off x="603068" y="1441449"/>
            <a:ext cx="4903721" cy="288147"/>
            <a:chOff x="2832361" y="2160328"/>
            <a:chExt cx="3534683" cy="184982"/>
          </a:xfrm>
        </p:grpSpPr>
        <p:sp>
          <p:nvSpPr>
            <p:cNvPr id="9" name="Arrow: Left-Right 8">
              <a:extLst>
                <a:ext uri="{FF2B5EF4-FFF2-40B4-BE49-F238E27FC236}">
                  <a16:creationId xmlns:a16="http://schemas.microsoft.com/office/drawing/2014/main" id="{851A5DA7-5FD1-98F2-E078-A95D27415FF5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Plot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39623A9-E1AF-C31F-01BA-8D59853A59BC}"/>
                </a:ext>
              </a:extLst>
            </p:cNvPr>
            <p:cNvCxnSpPr>
              <a:stCxn id="9" idx="4"/>
              <a:endCxn id="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convertedtitle__637369715831855678">
            <a:extLst>
              <a:ext uri="{FF2B5EF4-FFF2-40B4-BE49-F238E27FC236}">
                <a16:creationId xmlns:a16="http://schemas.microsoft.com/office/drawing/2014/main" id="{E589339A-39BF-77E2-E7B9-7B60F724F9BB}"/>
              </a:ext>
            </a:extLst>
          </p:cNvPr>
          <p:cNvGrpSpPr/>
          <p:nvPr/>
        </p:nvGrpSpPr>
        <p:grpSpPr>
          <a:xfrm>
            <a:off x="6680163" y="1441449"/>
            <a:ext cx="4903721" cy="288147"/>
            <a:chOff x="2832361" y="2160328"/>
            <a:chExt cx="3534683" cy="184982"/>
          </a:xfrm>
        </p:grpSpPr>
        <p:sp>
          <p:nvSpPr>
            <p:cNvPr id="12" name="Arrow: Left-Right 11">
              <a:extLst>
                <a:ext uri="{FF2B5EF4-FFF2-40B4-BE49-F238E27FC236}">
                  <a16:creationId xmlns:a16="http://schemas.microsoft.com/office/drawing/2014/main" id="{92A783DD-2DF0-0A75-8A47-A55C4AA27B8F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6985906-F313-0E3B-F110-C7CC8BC3278A}"/>
                </a:ext>
              </a:extLst>
            </p:cNvPr>
            <p:cNvCxnSpPr>
              <a:stCxn id="12" idx="4"/>
              <a:endCxn id="1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>
            <a:extLst>
              <a:ext uri="{FF2B5EF4-FFF2-40B4-BE49-F238E27FC236}">
                <a16:creationId xmlns:a16="http://schemas.microsoft.com/office/drawing/2014/main" id="{E93753FD-7F47-57FB-4282-2DD3A6732B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0163" y="1850343"/>
            <a:ext cx="4903721" cy="35245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 correlation plot helps us understand which variables are potentially valuable to include in a predictive model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Variables with strong both positive and negative correlations are most likely to inform our model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For instance, “</a:t>
            </a:r>
            <a:r>
              <a:rPr lang="en-US" sz="1600" err="1">
                <a:solidFill>
                  <a:srgbClr val="2E2E38"/>
                </a:solidFill>
              </a:rPr>
              <a:t>ExterGrade</a:t>
            </a:r>
            <a:r>
              <a:rPr lang="en-US" sz="1600">
                <a:solidFill>
                  <a:srgbClr val="2E2E38"/>
                </a:solidFill>
              </a:rPr>
              <a:t>” and “</a:t>
            </a:r>
            <a:r>
              <a:rPr lang="en-US" sz="1600" err="1">
                <a:solidFill>
                  <a:srgbClr val="2E2E38"/>
                </a:solidFill>
              </a:rPr>
              <a:t>MSSubClass</a:t>
            </a:r>
            <a:r>
              <a:rPr lang="en-US" sz="1600">
                <a:solidFill>
                  <a:srgbClr val="2E2E38"/>
                </a:solidFill>
              </a:rPr>
              <a:t>” could be strong predictor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Fireplaces, on the other hand, appears to not be related to price and therefore won’t inform our model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B5F5ADE-E96D-B32B-835F-056012D36A1C}"/>
              </a:ext>
            </a:extLst>
          </p:cNvPr>
          <p:cNvGrpSpPr/>
          <p:nvPr/>
        </p:nvGrpSpPr>
        <p:grpSpPr>
          <a:xfrm>
            <a:off x="5944498" y="1809750"/>
            <a:ext cx="291426" cy="4267838"/>
            <a:chOff x="5944498" y="1809750"/>
            <a:chExt cx="291426" cy="4267838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83D9638-217C-DFAA-4EE6-CF44E3B57D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DCE211A-CE95-C4A2-8BF3-6F3F62D7217E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D854E8C9-E807-6223-AD66-058C3D0DFB4C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Graphic 16">
                <a:extLst>
                  <a:ext uri="{FF2B5EF4-FFF2-40B4-BE49-F238E27FC236}">
                    <a16:creationId xmlns:a16="http://schemas.microsoft.com/office/drawing/2014/main" id="{D1E91DDC-0336-EDAF-8045-3841287FBFC1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sp>
        <p:nvSpPr>
          <p:cNvPr id="39" name="Title 2">
            <a:extLst>
              <a:ext uri="{FF2B5EF4-FFF2-40B4-BE49-F238E27FC236}">
                <a16:creationId xmlns:a16="http://schemas.microsoft.com/office/drawing/2014/main" id="{D40F40C0-6CD0-8AFF-28E2-3EB7978F8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656024"/>
            <a:ext cx="11254520" cy="633776"/>
          </a:xfrm>
        </p:spPr>
        <p:txBody>
          <a:bodyPr vert="horz"/>
          <a:lstStyle/>
          <a:p>
            <a:r>
              <a:rPr lang="en-US"/>
              <a:t>Feature correlation plo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A6E3EC-B17D-B682-2A5A-5125E577E8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0272" y="1780393"/>
            <a:ext cx="3889312" cy="473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60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99E8A8-035F-704F-62E6-F58784A3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77EF1-9F1F-32CC-5ABC-EDAE8F4C6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1442326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839CE3-4017-F5DA-CAE5-78AA612B2C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526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" name="think-cell Slide" r:id="rId5" imgW="501" imgH="501" progId="TCLayout.ActiveDocument.1">
                  <p:embed/>
                </p:oleObj>
              </mc:Choice>
              <mc:Fallback>
                <p:oleObj name="think-cell Slide" r:id="rId5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839CE3-4017-F5DA-CAE5-78AA612B2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6145CE-3C7F-3704-D7D3-EE51FE312C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F904E2B-5F9A-92A8-A5CE-D7409EAB7F6C}"/>
              </a:ext>
            </a:extLst>
          </p:cNvPr>
          <p:cNvSpPr>
            <a:spLocks noChangeAspect="1"/>
          </p:cNvSpPr>
          <p:nvPr/>
        </p:nvSpPr>
        <p:spPr>
          <a:xfrm>
            <a:off x="693657" y="1315594"/>
            <a:ext cx="400904" cy="400904"/>
          </a:xfrm>
          <a:prstGeom prst="ellipse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1" tIns="35981" rIns="35981" bIns="35981" rtlCol="0" anchor="ctr" anchorCtr="0"/>
          <a:lstStyle/>
          <a:p>
            <a:pPr algn="ctr"/>
            <a:endParaRPr lang="en-US" sz="1099" err="1">
              <a:solidFill>
                <a:srgbClr val="4B4B4B"/>
              </a:solidFill>
            </a:endParaRPr>
          </a:p>
        </p:txBody>
      </p:sp>
      <p:grpSp>
        <p:nvGrpSpPr>
          <p:cNvPr id="8" name="convertedtitle__637369715831706015">
            <a:extLst>
              <a:ext uri="{FF2B5EF4-FFF2-40B4-BE49-F238E27FC236}">
                <a16:creationId xmlns:a16="http://schemas.microsoft.com/office/drawing/2014/main" id="{DDAF540F-682B-E952-37B7-CD85483FE90D}"/>
              </a:ext>
            </a:extLst>
          </p:cNvPr>
          <p:cNvGrpSpPr/>
          <p:nvPr/>
        </p:nvGrpSpPr>
        <p:grpSpPr>
          <a:xfrm>
            <a:off x="603068" y="1441449"/>
            <a:ext cx="4903721" cy="288147"/>
            <a:chOff x="2832361" y="2160328"/>
            <a:chExt cx="3534683" cy="184982"/>
          </a:xfrm>
        </p:grpSpPr>
        <p:sp>
          <p:nvSpPr>
            <p:cNvPr id="9" name="Arrow: Left-Right 8">
              <a:extLst>
                <a:ext uri="{FF2B5EF4-FFF2-40B4-BE49-F238E27FC236}">
                  <a16:creationId xmlns:a16="http://schemas.microsoft.com/office/drawing/2014/main" id="{851A5DA7-5FD1-98F2-E078-A95D27415FF5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39623A9-E1AF-C31F-01BA-8D59853A59BC}"/>
                </a:ext>
              </a:extLst>
            </p:cNvPr>
            <p:cNvCxnSpPr>
              <a:stCxn id="9" idx="4"/>
              <a:endCxn id="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convertedtitle__637369715831855678">
            <a:extLst>
              <a:ext uri="{FF2B5EF4-FFF2-40B4-BE49-F238E27FC236}">
                <a16:creationId xmlns:a16="http://schemas.microsoft.com/office/drawing/2014/main" id="{E589339A-39BF-77E2-E7B9-7B60F724F9BB}"/>
              </a:ext>
            </a:extLst>
          </p:cNvPr>
          <p:cNvGrpSpPr/>
          <p:nvPr/>
        </p:nvGrpSpPr>
        <p:grpSpPr>
          <a:xfrm>
            <a:off x="6680163" y="1441449"/>
            <a:ext cx="4903721" cy="288147"/>
            <a:chOff x="2832361" y="2160328"/>
            <a:chExt cx="3534683" cy="184982"/>
          </a:xfrm>
        </p:grpSpPr>
        <p:sp>
          <p:nvSpPr>
            <p:cNvPr id="12" name="Arrow: Left-Right 11">
              <a:extLst>
                <a:ext uri="{FF2B5EF4-FFF2-40B4-BE49-F238E27FC236}">
                  <a16:creationId xmlns:a16="http://schemas.microsoft.com/office/drawing/2014/main" id="{92A783DD-2DF0-0A75-8A47-A55C4AA27B8F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Python Code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6985906-F313-0E3B-F110-C7CC8BC3278A}"/>
                </a:ext>
              </a:extLst>
            </p:cNvPr>
            <p:cNvCxnSpPr>
              <a:stCxn id="12" idx="4"/>
              <a:endCxn id="1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98F6A65-F821-B459-837F-2E6B055F921C}"/>
              </a:ext>
            </a:extLst>
          </p:cNvPr>
          <p:cNvGrpSpPr>
            <a:grpSpLocks noChangeAspect="1"/>
          </p:cNvGrpSpPr>
          <p:nvPr/>
        </p:nvGrpSpPr>
        <p:grpSpPr>
          <a:xfrm>
            <a:off x="6823973" y="1315586"/>
            <a:ext cx="400901" cy="400901"/>
            <a:chOff x="982663" y="2992438"/>
            <a:chExt cx="1184275" cy="1184275"/>
          </a:xfrm>
          <a:solidFill>
            <a:schemeClr val="accent1"/>
          </a:solidFill>
        </p:grpSpPr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BFD03A95-E407-BFE3-41E8-C8F603B4FD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9913" y="2992438"/>
              <a:ext cx="327025" cy="327025"/>
            </a:xfrm>
            <a:custGeom>
              <a:avLst/>
              <a:gdLst>
                <a:gd name="T0" fmla="*/ 92 w 206"/>
                <a:gd name="T1" fmla="*/ 206 h 206"/>
                <a:gd name="T2" fmla="*/ 6 w 206"/>
                <a:gd name="T3" fmla="*/ 200 h 206"/>
                <a:gd name="T4" fmla="*/ 0 w 206"/>
                <a:gd name="T5" fmla="*/ 114 h 206"/>
                <a:gd name="T6" fmla="*/ 114 w 206"/>
                <a:gd name="T7" fmla="*/ 0 h 206"/>
                <a:gd name="T8" fmla="*/ 110 w 206"/>
                <a:gd name="T9" fmla="*/ 96 h 206"/>
                <a:gd name="T10" fmla="*/ 206 w 206"/>
                <a:gd name="T11" fmla="*/ 92 h 206"/>
                <a:gd name="T12" fmla="*/ 92 w 206"/>
                <a:gd name="T13" fmla="*/ 206 h 206"/>
                <a:gd name="T14" fmla="*/ 22 w 206"/>
                <a:gd name="T15" fmla="*/ 184 h 206"/>
                <a:gd name="T16" fmla="*/ 84 w 206"/>
                <a:gd name="T17" fmla="*/ 188 h 206"/>
                <a:gd name="T18" fmla="*/ 160 w 206"/>
                <a:gd name="T19" fmla="*/ 112 h 206"/>
                <a:gd name="T20" fmla="*/ 90 w 206"/>
                <a:gd name="T21" fmla="*/ 116 h 206"/>
                <a:gd name="T22" fmla="*/ 94 w 206"/>
                <a:gd name="T23" fmla="*/ 46 h 206"/>
                <a:gd name="T24" fmla="*/ 18 w 206"/>
                <a:gd name="T25" fmla="*/ 122 h 206"/>
                <a:gd name="T26" fmla="*/ 22 w 206"/>
                <a:gd name="T27" fmla="*/ 18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6" h="206">
                  <a:moveTo>
                    <a:pt x="92" y="206"/>
                  </a:moveTo>
                  <a:lnTo>
                    <a:pt x="6" y="200"/>
                  </a:lnTo>
                  <a:lnTo>
                    <a:pt x="0" y="114"/>
                  </a:lnTo>
                  <a:lnTo>
                    <a:pt x="114" y="0"/>
                  </a:lnTo>
                  <a:lnTo>
                    <a:pt x="110" y="96"/>
                  </a:lnTo>
                  <a:lnTo>
                    <a:pt x="206" y="92"/>
                  </a:lnTo>
                  <a:lnTo>
                    <a:pt x="92" y="206"/>
                  </a:lnTo>
                  <a:close/>
                  <a:moveTo>
                    <a:pt x="22" y="184"/>
                  </a:moveTo>
                  <a:lnTo>
                    <a:pt x="84" y="188"/>
                  </a:lnTo>
                  <a:lnTo>
                    <a:pt x="160" y="112"/>
                  </a:lnTo>
                  <a:lnTo>
                    <a:pt x="90" y="116"/>
                  </a:lnTo>
                  <a:lnTo>
                    <a:pt x="94" y="46"/>
                  </a:lnTo>
                  <a:lnTo>
                    <a:pt x="18" y="122"/>
                  </a:lnTo>
                  <a:lnTo>
                    <a:pt x="22" y="1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B8BF2578-C262-FD07-9CB6-C0B04FBD9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938" y="3100388"/>
              <a:ext cx="527050" cy="527050"/>
            </a:xfrm>
            <a:custGeom>
              <a:avLst/>
              <a:gdLst>
                <a:gd name="T0" fmla="*/ 12 w 332"/>
                <a:gd name="T1" fmla="*/ 332 h 332"/>
                <a:gd name="T2" fmla="*/ 0 w 332"/>
                <a:gd name="T3" fmla="*/ 320 h 332"/>
                <a:gd name="T4" fmla="*/ 320 w 332"/>
                <a:gd name="T5" fmla="*/ 0 h 332"/>
                <a:gd name="T6" fmla="*/ 332 w 332"/>
                <a:gd name="T7" fmla="*/ 12 h 332"/>
                <a:gd name="T8" fmla="*/ 12 w 332"/>
                <a:gd name="T9" fmla="*/ 33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332">
                  <a:moveTo>
                    <a:pt x="12" y="332"/>
                  </a:moveTo>
                  <a:lnTo>
                    <a:pt x="0" y="320"/>
                  </a:lnTo>
                  <a:lnTo>
                    <a:pt x="320" y="0"/>
                  </a:lnTo>
                  <a:lnTo>
                    <a:pt x="332" y="12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D995DAB6-7797-2C41-36AF-25BB384B9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4788" y="3586163"/>
              <a:ext cx="98425" cy="98425"/>
            </a:xfrm>
            <a:custGeom>
              <a:avLst/>
              <a:gdLst>
                <a:gd name="T0" fmla="*/ 30 w 62"/>
                <a:gd name="T1" fmla="*/ 62 h 62"/>
                <a:gd name="T2" fmla="*/ 30 w 62"/>
                <a:gd name="T3" fmla="*/ 62 h 62"/>
                <a:gd name="T4" fmla="*/ 24 w 62"/>
                <a:gd name="T5" fmla="*/ 62 h 62"/>
                <a:gd name="T6" fmla="*/ 18 w 62"/>
                <a:gd name="T7" fmla="*/ 60 h 62"/>
                <a:gd name="T8" fmla="*/ 14 w 62"/>
                <a:gd name="T9" fmla="*/ 58 h 62"/>
                <a:gd name="T10" fmla="*/ 8 w 62"/>
                <a:gd name="T11" fmla="*/ 54 h 62"/>
                <a:gd name="T12" fmla="*/ 8 w 62"/>
                <a:gd name="T13" fmla="*/ 54 h 62"/>
                <a:gd name="T14" fmla="*/ 4 w 62"/>
                <a:gd name="T15" fmla="*/ 48 h 62"/>
                <a:gd name="T16" fmla="*/ 2 w 62"/>
                <a:gd name="T17" fmla="*/ 44 h 62"/>
                <a:gd name="T18" fmla="*/ 0 w 62"/>
                <a:gd name="T19" fmla="*/ 38 h 62"/>
                <a:gd name="T20" fmla="*/ 0 w 62"/>
                <a:gd name="T21" fmla="*/ 32 h 62"/>
                <a:gd name="T22" fmla="*/ 0 w 62"/>
                <a:gd name="T23" fmla="*/ 32 h 62"/>
                <a:gd name="T24" fmla="*/ 0 w 62"/>
                <a:gd name="T25" fmla="*/ 24 h 62"/>
                <a:gd name="T26" fmla="*/ 2 w 62"/>
                <a:gd name="T27" fmla="*/ 20 h 62"/>
                <a:gd name="T28" fmla="*/ 4 w 62"/>
                <a:gd name="T29" fmla="*/ 14 h 62"/>
                <a:gd name="T30" fmla="*/ 8 w 62"/>
                <a:gd name="T31" fmla="*/ 8 h 62"/>
                <a:gd name="T32" fmla="*/ 8 w 62"/>
                <a:gd name="T33" fmla="*/ 8 h 62"/>
                <a:gd name="T34" fmla="*/ 14 w 62"/>
                <a:gd name="T35" fmla="*/ 4 h 62"/>
                <a:gd name="T36" fmla="*/ 18 w 62"/>
                <a:gd name="T37" fmla="*/ 2 h 62"/>
                <a:gd name="T38" fmla="*/ 30 w 62"/>
                <a:gd name="T39" fmla="*/ 0 h 62"/>
                <a:gd name="T40" fmla="*/ 42 w 62"/>
                <a:gd name="T41" fmla="*/ 2 h 62"/>
                <a:gd name="T42" fmla="*/ 48 w 62"/>
                <a:gd name="T43" fmla="*/ 4 h 62"/>
                <a:gd name="T44" fmla="*/ 54 w 62"/>
                <a:gd name="T45" fmla="*/ 8 h 62"/>
                <a:gd name="T46" fmla="*/ 54 w 62"/>
                <a:gd name="T47" fmla="*/ 8 h 62"/>
                <a:gd name="T48" fmla="*/ 58 w 62"/>
                <a:gd name="T49" fmla="*/ 14 h 62"/>
                <a:gd name="T50" fmla="*/ 60 w 62"/>
                <a:gd name="T51" fmla="*/ 20 h 62"/>
                <a:gd name="T52" fmla="*/ 62 w 62"/>
                <a:gd name="T53" fmla="*/ 24 h 62"/>
                <a:gd name="T54" fmla="*/ 62 w 62"/>
                <a:gd name="T55" fmla="*/ 32 h 62"/>
                <a:gd name="T56" fmla="*/ 62 w 62"/>
                <a:gd name="T57" fmla="*/ 32 h 62"/>
                <a:gd name="T58" fmla="*/ 62 w 62"/>
                <a:gd name="T59" fmla="*/ 38 h 62"/>
                <a:gd name="T60" fmla="*/ 60 w 62"/>
                <a:gd name="T61" fmla="*/ 44 h 62"/>
                <a:gd name="T62" fmla="*/ 58 w 62"/>
                <a:gd name="T63" fmla="*/ 48 h 62"/>
                <a:gd name="T64" fmla="*/ 54 w 62"/>
                <a:gd name="T65" fmla="*/ 54 h 62"/>
                <a:gd name="T66" fmla="*/ 54 w 62"/>
                <a:gd name="T67" fmla="*/ 54 h 62"/>
                <a:gd name="T68" fmla="*/ 48 w 62"/>
                <a:gd name="T69" fmla="*/ 58 h 62"/>
                <a:gd name="T70" fmla="*/ 44 w 62"/>
                <a:gd name="T71" fmla="*/ 60 h 62"/>
                <a:gd name="T72" fmla="*/ 38 w 62"/>
                <a:gd name="T73" fmla="*/ 62 h 62"/>
                <a:gd name="T74" fmla="*/ 30 w 62"/>
                <a:gd name="T75" fmla="*/ 62 h 62"/>
                <a:gd name="T76" fmla="*/ 30 w 62"/>
                <a:gd name="T77" fmla="*/ 62 h 62"/>
                <a:gd name="T78" fmla="*/ 30 w 62"/>
                <a:gd name="T79" fmla="*/ 18 h 62"/>
                <a:gd name="T80" fmla="*/ 30 w 62"/>
                <a:gd name="T81" fmla="*/ 18 h 62"/>
                <a:gd name="T82" fmla="*/ 26 w 62"/>
                <a:gd name="T83" fmla="*/ 18 h 62"/>
                <a:gd name="T84" fmla="*/ 22 w 62"/>
                <a:gd name="T85" fmla="*/ 22 h 62"/>
                <a:gd name="T86" fmla="*/ 22 w 62"/>
                <a:gd name="T87" fmla="*/ 22 h 62"/>
                <a:gd name="T88" fmla="*/ 18 w 62"/>
                <a:gd name="T89" fmla="*/ 26 h 62"/>
                <a:gd name="T90" fmla="*/ 18 w 62"/>
                <a:gd name="T91" fmla="*/ 32 h 62"/>
                <a:gd name="T92" fmla="*/ 18 w 62"/>
                <a:gd name="T93" fmla="*/ 36 h 62"/>
                <a:gd name="T94" fmla="*/ 22 w 62"/>
                <a:gd name="T95" fmla="*/ 40 h 62"/>
                <a:gd name="T96" fmla="*/ 22 w 62"/>
                <a:gd name="T97" fmla="*/ 40 h 62"/>
                <a:gd name="T98" fmla="*/ 26 w 62"/>
                <a:gd name="T99" fmla="*/ 44 h 62"/>
                <a:gd name="T100" fmla="*/ 30 w 62"/>
                <a:gd name="T101" fmla="*/ 44 h 62"/>
                <a:gd name="T102" fmla="*/ 36 w 62"/>
                <a:gd name="T103" fmla="*/ 44 h 62"/>
                <a:gd name="T104" fmla="*/ 40 w 62"/>
                <a:gd name="T105" fmla="*/ 40 h 62"/>
                <a:gd name="T106" fmla="*/ 40 w 62"/>
                <a:gd name="T107" fmla="*/ 40 h 62"/>
                <a:gd name="T108" fmla="*/ 44 w 62"/>
                <a:gd name="T109" fmla="*/ 36 h 62"/>
                <a:gd name="T110" fmla="*/ 44 w 62"/>
                <a:gd name="T111" fmla="*/ 32 h 62"/>
                <a:gd name="T112" fmla="*/ 44 w 62"/>
                <a:gd name="T113" fmla="*/ 26 h 62"/>
                <a:gd name="T114" fmla="*/ 40 w 62"/>
                <a:gd name="T115" fmla="*/ 22 h 62"/>
                <a:gd name="T116" fmla="*/ 40 w 62"/>
                <a:gd name="T117" fmla="*/ 22 h 62"/>
                <a:gd name="T118" fmla="*/ 36 w 62"/>
                <a:gd name="T119" fmla="*/ 18 h 62"/>
                <a:gd name="T120" fmla="*/ 30 w 62"/>
                <a:gd name="T121" fmla="*/ 18 h 62"/>
                <a:gd name="T122" fmla="*/ 30 w 62"/>
                <a:gd name="T123" fmla="*/ 1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" h="62">
                  <a:moveTo>
                    <a:pt x="30" y="62"/>
                  </a:moveTo>
                  <a:lnTo>
                    <a:pt x="30" y="62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4" y="58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2" y="20"/>
                  </a:lnTo>
                  <a:lnTo>
                    <a:pt x="4" y="1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42" y="2"/>
                  </a:lnTo>
                  <a:lnTo>
                    <a:pt x="48" y="4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8" y="14"/>
                  </a:lnTo>
                  <a:lnTo>
                    <a:pt x="60" y="20"/>
                  </a:lnTo>
                  <a:lnTo>
                    <a:pt x="62" y="24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8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8" y="58"/>
                  </a:lnTo>
                  <a:lnTo>
                    <a:pt x="44" y="60"/>
                  </a:lnTo>
                  <a:lnTo>
                    <a:pt x="38" y="62"/>
                  </a:lnTo>
                  <a:lnTo>
                    <a:pt x="30" y="62"/>
                  </a:lnTo>
                  <a:lnTo>
                    <a:pt x="30" y="62"/>
                  </a:lnTo>
                  <a:close/>
                  <a:moveTo>
                    <a:pt x="30" y="18"/>
                  </a:moveTo>
                  <a:lnTo>
                    <a:pt x="30" y="18"/>
                  </a:lnTo>
                  <a:lnTo>
                    <a:pt x="26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8" y="32"/>
                  </a:lnTo>
                  <a:lnTo>
                    <a:pt x="18" y="36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6" y="44"/>
                  </a:lnTo>
                  <a:lnTo>
                    <a:pt x="30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6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2">
              <a:extLst>
                <a:ext uri="{FF2B5EF4-FFF2-40B4-BE49-F238E27FC236}">
                  <a16:creationId xmlns:a16="http://schemas.microsoft.com/office/drawing/2014/main" id="{35809EB7-F2FF-C921-FBB3-4D669E7E8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763" y="3144838"/>
              <a:ext cx="44450" cy="47625"/>
            </a:xfrm>
            <a:custGeom>
              <a:avLst/>
              <a:gdLst>
                <a:gd name="T0" fmla="*/ 12 w 28"/>
                <a:gd name="T1" fmla="*/ 30 h 30"/>
                <a:gd name="T2" fmla="*/ 0 w 28"/>
                <a:gd name="T3" fmla="*/ 16 h 30"/>
                <a:gd name="T4" fmla="*/ 16 w 28"/>
                <a:gd name="T5" fmla="*/ 0 h 30"/>
                <a:gd name="T6" fmla="*/ 28 w 28"/>
                <a:gd name="T7" fmla="*/ 14 h 30"/>
                <a:gd name="T8" fmla="*/ 12 w 28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0">
                  <a:moveTo>
                    <a:pt x="12" y="30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28" y="14"/>
                  </a:lnTo>
                  <a:lnTo>
                    <a:pt x="12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3">
              <a:extLst>
                <a:ext uri="{FF2B5EF4-FFF2-40B4-BE49-F238E27FC236}">
                  <a16:creationId xmlns:a16="http://schemas.microsoft.com/office/drawing/2014/main" id="{A695A9B1-A93F-389F-0401-FCE95D277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088" y="3208338"/>
              <a:ext cx="47625" cy="44450"/>
            </a:xfrm>
            <a:custGeom>
              <a:avLst/>
              <a:gdLst>
                <a:gd name="T0" fmla="*/ 14 w 30"/>
                <a:gd name="T1" fmla="*/ 28 h 28"/>
                <a:gd name="T2" fmla="*/ 0 w 30"/>
                <a:gd name="T3" fmla="*/ 16 h 28"/>
                <a:gd name="T4" fmla="*/ 16 w 30"/>
                <a:gd name="T5" fmla="*/ 0 h 28"/>
                <a:gd name="T6" fmla="*/ 30 w 30"/>
                <a:gd name="T7" fmla="*/ 12 h 28"/>
                <a:gd name="T8" fmla="*/ 14 w 30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">
                  <a:moveTo>
                    <a:pt x="14" y="28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30" y="12"/>
                  </a:lnTo>
                  <a:lnTo>
                    <a:pt x="14" y="2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4">
              <a:extLst>
                <a:ext uri="{FF2B5EF4-FFF2-40B4-BE49-F238E27FC236}">
                  <a16:creationId xmlns:a16="http://schemas.microsoft.com/office/drawing/2014/main" id="{46FA2B5C-E7BB-1710-B1F9-F16D1A23D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3" y="3094038"/>
              <a:ext cx="1082675" cy="1082675"/>
            </a:xfrm>
            <a:custGeom>
              <a:avLst/>
              <a:gdLst>
                <a:gd name="T0" fmla="*/ 308 w 682"/>
                <a:gd name="T1" fmla="*/ 680 h 682"/>
                <a:gd name="T2" fmla="*/ 210 w 682"/>
                <a:gd name="T3" fmla="*/ 656 h 682"/>
                <a:gd name="T4" fmla="*/ 124 w 682"/>
                <a:gd name="T5" fmla="*/ 606 h 682"/>
                <a:gd name="T6" fmla="*/ 76 w 682"/>
                <a:gd name="T7" fmla="*/ 558 h 682"/>
                <a:gd name="T8" fmla="*/ 26 w 682"/>
                <a:gd name="T9" fmla="*/ 472 h 682"/>
                <a:gd name="T10" fmla="*/ 2 w 682"/>
                <a:gd name="T11" fmla="*/ 376 h 682"/>
                <a:gd name="T12" fmla="*/ 2 w 682"/>
                <a:gd name="T13" fmla="*/ 308 h 682"/>
                <a:gd name="T14" fmla="*/ 26 w 682"/>
                <a:gd name="T15" fmla="*/ 210 h 682"/>
                <a:gd name="T16" fmla="*/ 76 w 682"/>
                <a:gd name="T17" fmla="*/ 126 h 682"/>
                <a:gd name="T18" fmla="*/ 122 w 682"/>
                <a:gd name="T19" fmla="*/ 80 h 682"/>
                <a:gd name="T20" fmla="*/ 196 w 682"/>
                <a:gd name="T21" fmla="*/ 32 h 682"/>
                <a:gd name="T22" fmla="*/ 278 w 682"/>
                <a:gd name="T23" fmla="*/ 6 h 682"/>
                <a:gd name="T24" fmla="*/ 364 w 682"/>
                <a:gd name="T25" fmla="*/ 0 h 682"/>
                <a:gd name="T26" fmla="*/ 448 w 682"/>
                <a:gd name="T27" fmla="*/ 18 h 682"/>
                <a:gd name="T28" fmla="*/ 528 w 682"/>
                <a:gd name="T29" fmla="*/ 56 h 682"/>
                <a:gd name="T30" fmla="*/ 518 w 682"/>
                <a:gd name="T31" fmla="*/ 70 h 682"/>
                <a:gd name="T32" fmla="*/ 468 w 682"/>
                <a:gd name="T33" fmla="*/ 44 h 682"/>
                <a:gd name="T34" fmla="*/ 390 w 682"/>
                <a:gd name="T35" fmla="*/ 22 h 682"/>
                <a:gd name="T36" fmla="*/ 308 w 682"/>
                <a:gd name="T37" fmla="*/ 20 h 682"/>
                <a:gd name="T38" fmla="*/ 228 w 682"/>
                <a:gd name="T39" fmla="*/ 38 h 682"/>
                <a:gd name="T40" fmla="*/ 156 w 682"/>
                <a:gd name="T41" fmla="*/ 76 h 682"/>
                <a:gd name="T42" fmla="*/ 112 w 682"/>
                <a:gd name="T43" fmla="*/ 112 h 682"/>
                <a:gd name="T44" fmla="*/ 56 w 682"/>
                <a:gd name="T45" fmla="*/ 190 h 682"/>
                <a:gd name="T46" fmla="*/ 24 w 682"/>
                <a:gd name="T47" fmla="*/ 278 h 682"/>
                <a:gd name="T48" fmla="*/ 18 w 682"/>
                <a:gd name="T49" fmla="*/ 342 h 682"/>
                <a:gd name="T50" fmla="*/ 32 w 682"/>
                <a:gd name="T51" fmla="*/ 436 h 682"/>
                <a:gd name="T52" fmla="*/ 72 w 682"/>
                <a:gd name="T53" fmla="*/ 520 h 682"/>
                <a:gd name="T54" fmla="*/ 112 w 682"/>
                <a:gd name="T55" fmla="*/ 570 h 682"/>
                <a:gd name="T56" fmla="*/ 188 w 682"/>
                <a:gd name="T57" fmla="*/ 626 h 682"/>
                <a:gd name="T58" fmla="*/ 278 w 682"/>
                <a:gd name="T59" fmla="*/ 658 h 682"/>
                <a:gd name="T60" fmla="*/ 340 w 682"/>
                <a:gd name="T61" fmla="*/ 664 h 682"/>
                <a:gd name="T62" fmla="*/ 436 w 682"/>
                <a:gd name="T63" fmla="*/ 650 h 682"/>
                <a:gd name="T64" fmla="*/ 520 w 682"/>
                <a:gd name="T65" fmla="*/ 610 h 682"/>
                <a:gd name="T66" fmla="*/ 570 w 682"/>
                <a:gd name="T67" fmla="*/ 570 h 682"/>
                <a:gd name="T68" fmla="*/ 622 w 682"/>
                <a:gd name="T69" fmla="*/ 502 h 682"/>
                <a:gd name="T70" fmla="*/ 654 w 682"/>
                <a:gd name="T71" fmla="*/ 424 h 682"/>
                <a:gd name="T72" fmla="*/ 664 w 682"/>
                <a:gd name="T73" fmla="*/ 344 h 682"/>
                <a:gd name="T74" fmla="*/ 654 w 682"/>
                <a:gd name="T75" fmla="*/ 262 h 682"/>
                <a:gd name="T76" fmla="*/ 622 w 682"/>
                <a:gd name="T77" fmla="*/ 182 h 682"/>
                <a:gd name="T78" fmla="*/ 616 w 682"/>
                <a:gd name="T79" fmla="*/ 140 h 682"/>
                <a:gd name="T80" fmla="*/ 638 w 682"/>
                <a:gd name="T81" fmla="*/ 174 h 682"/>
                <a:gd name="T82" fmla="*/ 672 w 682"/>
                <a:gd name="T83" fmla="*/ 256 h 682"/>
                <a:gd name="T84" fmla="*/ 682 w 682"/>
                <a:gd name="T85" fmla="*/ 344 h 682"/>
                <a:gd name="T86" fmla="*/ 670 w 682"/>
                <a:gd name="T87" fmla="*/ 430 h 682"/>
                <a:gd name="T88" fmla="*/ 638 w 682"/>
                <a:gd name="T89" fmla="*/ 510 h 682"/>
                <a:gd name="T90" fmla="*/ 582 w 682"/>
                <a:gd name="T91" fmla="*/ 582 h 682"/>
                <a:gd name="T92" fmla="*/ 530 w 682"/>
                <a:gd name="T93" fmla="*/ 626 h 682"/>
                <a:gd name="T94" fmla="*/ 440 w 682"/>
                <a:gd name="T95" fmla="*/ 668 h 682"/>
                <a:gd name="T96" fmla="*/ 340 w 682"/>
                <a:gd name="T97" fmla="*/ 68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2" h="682">
                  <a:moveTo>
                    <a:pt x="340" y="682"/>
                  </a:moveTo>
                  <a:lnTo>
                    <a:pt x="340" y="682"/>
                  </a:lnTo>
                  <a:lnTo>
                    <a:pt x="308" y="680"/>
                  </a:lnTo>
                  <a:lnTo>
                    <a:pt x="274" y="676"/>
                  </a:lnTo>
                  <a:lnTo>
                    <a:pt x="242" y="668"/>
                  </a:lnTo>
                  <a:lnTo>
                    <a:pt x="210" y="656"/>
                  </a:lnTo>
                  <a:lnTo>
                    <a:pt x="180" y="642"/>
                  </a:lnTo>
                  <a:lnTo>
                    <a:pt x="152" y="626"/>
                  </a:lnTo>
                  <a:lnTo>
                    <a:pt x="124" y="606"/>
                  </a:lnTo>
                  <a:lnTo>
                    <a:pt x="100" y="582"/>
                  </a:lnTo>
                  <a:lnTo>
                    <a:pt x="100" y="582"/>
                  </a:lnTo>
                  <a:lnTo>
                    <a:pt x="76" y="558"/>
                  </a:lnTo>
                  <a:lnTo>
                    <a:pt x="56" y="530"/>
                  </a:lnTo>
                  <a:lnTo>
                    <a:pt x="40" y="502"/>
                  </a:lnTo>
                  <a:lnTo>
                    <a:pt x="26" y="472"/>
                  </a:lnTo>
                  <a:lnTo>
                    <a:pt x="14" y="440"/>
                  </a:lnTo>
                  <a:lnTo>
                    <a:pt x="6" y="408"/>
                  </a:lnTo>
                  <a:lnTo>
                    <a:pt x="2" y="376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2" y="308"/>
                  </a:lnTo>
                  <a:lnTo>
                    <a:pt x="6" y="274"/>
                  </a:lnTo>
                  <a:lnTo>
                    <a:pt x="14" y="242"/>
                  </a:lnTo>
                  <a:lnTo>
                    <a:pt x="26" y="210"/>
                  </a:lnTo>
                  <a:lnTo>
                    <a:pt x="40" y="180"/>
                  </a:lnTo>
                  <a:lnTo>
                    <a:pt x="56" y="152"/>
                  </a:lnTo>
                  <a:lnTo>
                    <a:pt x="76" y="12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22" y="80"/>
                  </a:lnTo>
                  <a:lnTo>
                    <a:pt x="146" y="62"/>
                  </a:lnTo>
                  <a:lnTo>
                    <a:pt x="170" y="46"/>
                  </a:lnTo>
                  <a:lnTo>
                    <a:pt x="196" y="32"/>
                  </a:lnTo>
                  <a:lnTo>
                    <a:pt x="222" y="22"/>
                  </a:lnTo>
                  <a:lnTo>
                    <a:pt x="250" y="12"/>
                  </a:lnTo>
                  <a:lnTo>
                    <a:pt x="278" y="6"/>
                  </a:lnTo>
                  <a:lnTo>
                    <a:pt x="306" y="2"/>
                  </a:lnTo>
                  <a:lnTo>
                    <a:pt x="334" y="0"/>
                  </a:lnTo>
                  <a:lnTo>
                    <a:pt x="364" y="0"/>
                  </a:lnTo>
                  <a:lnTo>
                    <a:pt x="392" y="4"/>
                  </a:lnTo>
                  <a:lnTo>
                    <a:pt x="420" y="10"/>
                  </a:lnTo>
                  <a:lnTo>
                    <a:pt x="448" y="18"/>
                  </a:lnTo>
                  <a:lnTo>
                    <a:pt x="476" y="28"/>
                  </a:lnTo>
                  <a:lnTo>
                    <a:pt x="502" y="40"/>
                  </a:lnTo>
                  <a:lnTo>
                    <a:pt x="528" y="56"/>
                  </a:lnTo>
                  <a:lnTo>
                    <a:pt x="536" y="60"/>
                  </a:lnTo>
                  <a:lnTo>
                    <a:pt x="526" y="76"/>
                  </a:lnTo>
                  <a:lnTo>
                    <a:pt x="518" y="70"/>
                  </a:lnTo>
                  <a:lnTo>
                    <a:pt x="518" y="70"/>
                  </a:lnTo>
                  <a:lnTo>
                    <a:pt x="494" y="56"/>
                  </a:lnTo>
                  <a:lnTo>
                    <a:pt x="468" y="44"/>
                  </a:lnTo>
                  <a:lnTo>
                    <a:pt x="442" y="34"/>
                  </a:lnTo>
                  <a:lnTo>
                    <a:pt x="416" y="26"/>
                  </a:lnTo>
                  <a:lnTo>
                    <a:pt x="390" y="22"/>
                  </a:lnTo>
                  <a:lnTo>
                    <a:pt x="362" y="18"/>
                  </a:lnTo>
                  <a:lnTo>
                    <a:pt x="336" y="18"/>
                  </a:lnTo>
                  <a:lnTo>
                    <a:pt x="308" y="20"/>
                  </a:lnTo>
                  <a:lnTo>
                    <a:pt x="282" y="24"/>
                  </a:lnTo>
                  <a:lnTo>
                    <a:pt x="254" y="30"/>
                  </a:lnTo>
                  <a:lnTo>
                    <a:pt x="228" y="38"/>
                  </a:lnTo>
                  <a:lnTo>
                    <a:pt x="204" y="48"/>
                  </a:lnTo>
                  <a:lnTo>
                    <a:pt x="178" y="62"/>
                  </a:lnTo>
                  <a:lnTo>
                    <a:pt x="156" y="76"/>
                  </a:lnTo>
                  <a:lnTo>
                    <a:pt x="134" y="94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90" y="136"/>
                  </a:lnTo>
                  <a:lnTo>
                    <a:pt x="72" y="162"/>
                  </a:lnTo>
                  <a:lnTo>
                    <a:pt x="56" y="190"/>
                  </a:lnTo>
                  <a:lnTo>
                    <a:pt x="42" y="218"/>
                  </a:lnTo>
                  <a:lnTo>
                    <a:pt x="32" y="248"/>
                  </a:lnTo>
                  <a:lnTo>
                    <a:pt x="24" y="278"/>
                  </a:lnTo>
                  <a:lnTo>
                    <a:pt x="20" y="310"/>
                  </a:lnTo>
                  <a:lnTo>
                    <a:pt x="18" y="342"/>
                  </a:lnTo>
                  <a:lnTo>
                    <a:pt x="18" y="342"/>
                  </a:lnTo>
                  <a:lnTo>
                    <a:pt x="20" y="374"/>
                  </a:lnTo>
                  <a:lnTo>
                    <a:pt x="24" y="404"/>
                  </a:lnTo>
                  <a:lnTo>
                    <a:pt x="32" y="436"/>
                  </a:lnTo>
                  <a:lnTo>
                    <a:pt x="42" y="464"/>
                  </a:lnTo>
                  <a:lnTo>
                    <a:pt x="56" y="494"/>
                  </a:lnTo>
                  <a:lnTo>
                    <a:pt x="72" y="520"/>
                  </a:lnTo>
                  <a:lnTo>
                    <a:pt x="90" y="546"/>
                  </a:lnTo>
                  <a:lnTo>
                    <a:pt x="112" y="570"/>
                  </a:lnTo>
                  <a:lnTo>
                    <a:pt x="112" y="570"/>
                  </a:lnTo>
                  <a:lnTo>
                    <a:pt x="136" y="592"/>
                  </a:lnTo>
                  <a:lnTo>
                    <a:pt x="162" y="610"/>
                  </a:lnTo>
                  <a:lnTo>
                    <a:pt x="188" y="626"/>
                  </a:lnTo>
                  <a:lnTo>
                    <a:pt x="218" y="640"/>
                  </a:lnTo>
                  <a:lnTo>
                    <a:pt x="246" y="650"/>
                  </a:lnTo>
                  <a:lnTo>
                    <a:pt x="278" y="658"/>
                  </a:lnTo>
                  <a:lnTo>
                    <a:pt x="308" y="662"/>
                  </a:lnTo>
                  <a:lnTo>
                    <a:pt x="340" y="664"/>
                  </a:lnTo>
                  <a:lnTo>
                    <a:pt x="340" y="664"/>
                  </a:lnTo>
                  <a:lnTo>
                    <a:pt x="374" y="662"/>
                  </a:lnTo>
                  <a:lnTo>
                    <a:pt x="404" y="658"/>
                  </a:lnTo>
                  <a:lnTo>
                    <a:pt x="436" y="650"/>
                  </a:lnTo>
                  <a:lnTo>
                    <a:pt x="464" y="640"/>
                  </a:lnTo>
                  <a:lnTo>
                    <a:pt x="494" y="626"/>
                  </a:lnTo>
                  <a:lnTo>
                    <a:pt x="520" y="610"/>
                  </a:lnTo>
                  <a:lnTo>
                    <a:pt x="546" y="592"/>
                  </a:lnTo>
                  <a:lnTo>
                    <a:pt x="570" y="570"/>
                  </a:lnTo>
                  <a:lnTo>
                    <a:pt x="570" y="570"/>
                  </a:lnTo>
                  <a:lnTo>
                    <a:pt x="588" y="548"/>
                  </a:lnTo>
                  <a:lnTo>
                    <a:pt x="606" y="526"/>
                  </a:lnTo>
                  <a:lnTo>
                    <a:pt x="622" y="502"/>
                  </a:lnTo>
                  <a:lnTo>
                    <a:pt x="634" y="476"/>
                  </a:lnTo>
                  <a:lnTo>
                    <a:pt x="644" y="452"/>
                  </a:lnTo>
                  <a:lnTo>
                    <a:pt x="654" y="424"/>
                  </a:lnTo>
                  <a:lnTo>
                    <a:pt x="660" y="398"/>
                  </a:lnTo>
                  <a:lnTo>
                    <a:pt x="662" y="370"/>
                  </a:lnTo>
                  <a:lnTo>
                    <a:pt x="664" y="344"/>
                  </a:lnTo>
                  <a:lnTo>
                    <a:pt x="664" y="316"/>
                  </a:lnTo>
                  <a:lnTo>
                    <a:pt x="660" y="288"/>
                  </a:lnTo>
                  <a:lnTo>
                    <a:pt x="654" y="262"/>
                  </a:lnTo>
                  <a:lnTo>
                    <a:pt x="646" y="234"/>
                  </a:lnTo>
                  <a:lnTo>
                    <a:pt x="636" y="208"/>
                  </a:lnTo>
                  <a:lnTo>
                    <a:pt x="622" y="182"/>
                  </a:lnTo>
                  <a:lnTo>
                    <a:pt x="608" y="158"/>
                  </a:lnTo>
                  <a:lnTo>
                    <a:pt x="602" y="150"/>
                  </a:lnTo>
                  <a:lnTo>
                    <a:pt x="616" y="140"/>
                  </a:lnTo>
                  <a:lnTo>
                    <a:pt x="622" y="148"/>
                  </a:lnTo>
                  <a:lnTo>
                    <a:pt x="622" y="148"/>
                  </a:lnTo>
                  <a:lnTo>
                    <a:pt x="638" y="174"/>
                  </a:lnTo>
                  <a:lnTo>
                    <a:pt x="652" y="200"/>
                  </a:lnTo>
                  <a:lnTo>
                    <a:pt x="662" y="228"/>
                  </a:lnTo>
                  <a:lnTo>
                    <a:pt x="672" y="256"/>
                  </a:lnTo>
                  <a:lnTo>
                    <a:pt x="678" y="286"/>
                  </a:lnTo>
                  <a:lnTo>
                    <a:pt x="682" y="314"/>
                  </a:lnTo>
                  <a:lnTo>
                    <a:pt x="682" y="344"/>
                  </a:lnTo>
                  <a:lnTo>
                    <a:pt x="680" y="372"/>
                  </a:lnTo>
                  <a:lnTo>
                    <a:pt x="676" y="402"/>
                  </a:lnTo>
                  <a:lnTo>
                    <a:pt x="670" y="430"/>
                  </a:lnTo>
                  <a:lnTo>
                    <a:pt x="662" y="458"/>
                  </a:lnTo>
                  <a:lnTo>
                    <a:pt x="650" y="484"/>
                  </a:lnTo>
                  <a:lnTo>
                    <a:pt x="638" y="510"/>
                  </a:lnTo>
                  <a:lnTo>
                    <a:pt x="622" y="536"/>
                  </a:lnTo>
                  <a:lnTo>
                    <a:pt x="602" y="560"/>
                  </a:lnTo>
                  <a:lnTo>
                    <a:pt x="582" y="582"/>
                  </a:lnTo>
                  <a:lnTo>
                    <a:pt x="582" y="582"/>
                  </a:lnTo>
                  <a:lnTo>
                    <a:pt x="558" y="606"/>
                  </a:lnTo>
                  <a:lnTo>
                    <a:pt x="530" y="626"/>
                  </a:lnTo>
                  <a:lnTo>
                    <a:pt x="502" y="642"/>
                  </a:lnTo>
                  <a:lnTo>
                    <a:pt x="472" y="656"/>
                  </a:lnTo>
                  <a:lnTo>
                    <a:pt x="440" y="668"/>
                  </a:lnTo>
                  <a:lnTo>
                    <a:pt x="408" y="676"/>
                  </a:lnTo>
                  <a:lnTo>
                    <a:pt x="374" y="680"/>
                  </a:lnTo>
                  <a:lnTo>
                    <a:pt x="340" y="682"/>
                  </a:lnTo>
                  <a:lnTo>
                    <a:pt x="340" y="6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5">
              <a:extLst>
                <a:ext uri="{FF2B5EF4-FFF2-40B4-BE49-F238E27FC236}">
                  <a16:creationId xmlns:a16="http://schemas.microsoft.com/office/drawing/2014/main" id="{A64A00F6-BC17-E18D-86B4-B3FDA48C8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563" y="3182938"/>
              <a:ext cx="904875" cy="904875"/>
            </a:xfrm>
            <a:custGeom>
              <a:avLst/>
              <a:gdLst>
                <a:gd name="T0" fmla="*/ 256 w 570"/>
                <a:gd name="T1" fmla="*/ 570 h 570"/>
                <a:gd name="T2" fmla="*/ 176 w 570"/>
                <a:gd name="T3" fmla="*/ 550 h 570"/>
                <a:gd name="T4" fmla="*/ 104 w 570"/>
                <a:gd name="T5" fmla="*/ 506 h 570"/>
                <a:gd name="T6" fmla="*/ 64 w 570"/>
                <a:gd name="T7" fmla="*/ 466 h 570"/>
                <a:gd name="T8" fmla="*/ 20 w 570"/>
                <a:gd name="T9" fmla="*/ 394 h 570"/>
                <a:gd name="T10" fmla="*/ 0 w 570"/>
                <a:gd name="T11" fmla="*/ 314 h 570"/>
                <a:gd name="T12" fmla="*/ 0 w 570"/>
                <a:gd name="T13" fmla="*/ 256 h 570"/>
                <a:gd name="T14" fmla="*/ 20 w 570"/>
                <a:gd name="T15" fmla="*/ 176 h 570"/>
                <a:gd name="T16" fmla="*/ 64 w 570"/>
                <a:gd name="T17" fmla="*/ 104 h 570"/>
                <a:gd name="T18" fmla="*/ 102 w 570"/>
                <a:gd name="T19" fmla="*/ 66 h 570"/>
                <a:gd name="T20" fmla="*/ 168 w 570"/>
                <a:gd name="T21" fmla="*/ 24 h 570"/>
                <a:gd name="T22" fmla="*/ 240 w 570"/>
                <a:gd name="T23" fmla="*/ 4 h 570"/>
                <a:gd name="T24" fmla="*/ 316 w 570"/>
                <a:gd name="T25" fmla="*/ 2 h 570"/>
                <a:gd name="T26" fmla="*/ 388 w 570"/>
                <a:gd name="T27" fmla="*/ 20 h 570"/>
                <a:gd name="T28" fmla="*/ 456 w 570"/>
                <a:gd name="T29" fmla="*/ 58 h 570"/>
                <a:gd name="T30" fmla="*/ 446 w 570"/>
                <a:gd name="T31" fmla="*/ 72 h 570"/>
                <a:gd name="T32" fmla="*/ 404 w 570"/>
                <a:gd name="T33" fmla="*/ 46 h 570"/>
                <a:gd name="T34" fmla="*/ 336 w 570"/>
                <a:gd name="T35" fmla="*/ 22 h 570"/>
                <a:gd name="T36" fmla="*/ 266 w 570"/>
                <a:gd name="T37" fmla="*/ 18 h 570"/>
                <a:gd name="T38" fmla="*/ 198 w 570"/>
                <a:gd name="T39" fmla="*/ 32 h 570"/>
                <a:gd name="T40" fmla="*/ 134 w 570"/>
                <a:gd name="T41" fmla="*/ 64 h 570"/>
                <a:gd name="T42" fmla="*/ 96 w 570"/>
                <a:gd name="T43" fmla="*/ 96 h 570"/>
                <a:gd name="T44" fmla="*/ 48 w 570"/>
                <a:gd name="T45" fmla="*/ 160 h 570"/>
                <a:gd name="T46" fmla="*/ 22 w 570"/>
                <a:gd name="T47" fmla="*/ 232 h 570"/>
                <a:gd name="T48" fmla="*/ 18 w 570"/>
                <a:gd name="T49" fmla="*/ 286 h 570"/>
                <a:gd name="T50" fmla="*/ 28 w 570"/>
                <a:gd name="T51" fmla="*/ 364 h 570"/>
                <a:gd name="T52" fmla="*/ 62 w 570"/>
                <a:gd name="T53" fmla="*/ 434 h 570"/>
                <a:gd name="T54" fmla="*/ 96 w 570"/>
                <a:gd name="T55" fmla="*/ 474 h 570"/>
                <a:gd name="T56" fmla="*/ 158 w 570"/>
                <a:gd name="T57" fmla="*/ 522 h 570"/>
                <a:gd name="T58" fmla="*/ 232 w 570"/>
                <a:gd name="T59" fmla="*/ 548 h 570"/>
                <a:gd name="T60" fmla="*/ 284 w 570"/>
                <a:gd name="T61" fmla="*/ 552 h 570"/>
                <a:gd name="T62" fmla="*/ 362 w 570"/>
                <a:gd name="T63" fmla="*/ 542 h 570"/>
                <a:gd name="T64" fmla="*/ 434 w 570"/>
                <a:gd name="T65" fmla="*/ 508 h 570"/>
                <a:gd name="T66" fmla="*/ 474 w 570"/>
                <a:gd name="T67" fmla="*/ 474 h 570"/>
                <a:gd name="T68" fmla="*/ 518 w 570"/>
                <a:gd name="T69" fmla="*/ 416 h 570"/>
                <a:gd name="T70" fmla="*/ 544 w 570"/>
                <a:gd name="T71" fmla="*/ 348 h 570"/>
                <a:gd name="T72" fmla="*/ 552 w 570"/>
                <a:gd name="T73" fmla="*/ 278 h 570"/>
                <a:gd name="T74" fmla="*/ 542 w 570"/>
                <a:gd name="T75" fmla="*/ 208 h 570"/>
                <a:gd name="T76" fmla="*/ 510 w 570"/>
                <a:gd name="T77" fmla="*/ 142 h 570"/>
                <a:gd name="T78" fmla="*/ 506 w 570"/>
                <a:gd name="T79" fmla="*/ 104 h 570"/>
                <a:gd name="T80" fmla="*/ 526 w 570"/>
                <a:gd name="T81" fmla="*/ 132 h 570"/>
                <a:gd name="T82" fmla="*/ 558 w 570"/>
                <a:gd name="T83" fmla="*/ 202 h 570"/>
                <a:gd name="T84" fmla="*/ 570 w 570"/>
                <a:gd name="T85" fmla="*/ 278 h 570"/>
                <a:gd name="T86" fmla="*/ 562 w 570"/>
                <a:gd name="T87" fmla="*/ 354 h 570"/>
                <a:gd name="T88" fmla="*/ 534 w 570"/>
                <a:gd name="T89" fmla="*/ 424 h 570"/>
                <a:gd name="T90" fmla="*/ 486 w 570"/>
                <a:gd name="T91" fmla="*/ 488 h 570"/>
                <a:gd name="T92" fmla="*/ 444 w 570"/>
                <a:gd name="T93" fmla="*/ 524 h 570"/>
                <a:gd name="T94" fmla="*/ 368 w 570"/>
                <a:gd name="T95" fmla="*/ 558 h 570"/>
                <a:gd name="T96" fmla="*/ 284 w 570"/>
                <a:gd name="T97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0" h="570">
                  <a:moveTo>
                    <a:pt x="284" y="570"/>
                  </a:moveTo>
                  <a:lnTo>
                    <a:pt x="284" y="570"/>
                  </a:lnTo>
                  <a:lnTo>
                    <a:pt x="256" y="570"/>
                  </a:lnTo>
                  <a:lnTo>
                    <a:pt x="228" y="566"/>
                  </a:lnTo>
                  <a:lnTo>
                    <a:pt x="202" y="558"/>
                  </a:lnTo>
                  <a:lnTo>
                    <a:pt x="176" y="550"/>
                  </a:lnTo>
                  <a:lnTo>
                    <a:pt x="150" y="538"/>
                  </a:lnTo>
                  <a:lnTo>
                    <a:pt x="126" y="524"/>
                  </a:lnTo>
                  <a:lnTo>
                    <a:pt x="104" y="506"/>
                  </a:lnTo>
                  <a:lnTo>
                    <a:pt x="82" y="488"/>
                  </a:lnTo>
                  <a:lnTo>
                    <a:pt x="82" y="488"/>
                  </a:lnTo>
                  <a:lnTo>
                    <a:pt x="64" y="466"/>
                  </a:lnTo>
                  <a:lnTo>
                    <a:pt x="48" y="444"/>
                  </a:lnTo>
                  <a:lnTo>
                    <a:pt x="32" y="420"/>
                  </a:lnTo>
                  <a:lnTo>
                    <a:pt x="20" y="394"/>
                  </a:lnTo>
                  <a:lnTo>
                    <a:pt x="12" y="368"/>
                  </a:lnTo>
                  <a:lnTo>
                    <a:pt x="4" y="342"/>
                  </a:lnTo>
                  <a:lnTo>
                    <a:pt x="0" y="314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0" y="256"/>
                  </a:lnTo>
                  <a:lnTo>
                    <a:pt x="4" y="230"/>
                  </a:lnTo>
                  <a:lnTo>
                    <a:pt x="12" y="202"/>
                  </a:lnTo>
                  <a:lnTo>
                    <a:pt x="20" y="176"/>
                  </a:lnTo>
                  <a:lnTo>
                    <a:pt x="32" y="150"/>
                  </a:lnTo>
                  <a:lnTo>
                    <a:pt x="48" y="126"/>
                  </a:lnTo>
                  <a:lnTo>
                    <a:pt x="64" y="10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102" y="66"/>
                  </a:lnTo>
                  <a:lnTo>
                    <a:pt x="124" y="50"/>
                  </a:lnTo>
                  <a:lnTo>
                    <a:pt x="144" y="36"/>
                  </a:lnTo>
                  <a:lnTo>
                    <a:pt x="168" y="24"/>
                  </a:lnTo>
                  <a:lnTo>
                    <a:pt x="192" y="16"/>
                  </a:lnTo>
                  <a:lnTo>
                    <a:pt x="216" y="8"/>
                  </a:lnTo>
                  <a:lnTo>
                    <a:pt x="240" y="4"/>
                  </a:lnTo>
                  <a:lnTo>
                    <a:pt x="264" y="0"/>
                  </a:lnTo>
                  <a:lnTo>
                    <a:pt x="290" y="0"/>
                  </a:lnTo>
                  <a:lnTo>
                    <a:pt x="316" y="2"/>
                  </a:lnTo>
                  <a:lnTo>
                    <a:pt x="340" y="6"/>
                  </a:lnTo>
                  <a:lnTo>
                    <a:pt x="364" y="12"/>
                  </a:lnTo>
                  <a:lnTo>
                    <a:pt x="388" y="20"/>
                  </a:lnTo>
                  <a:lnTo>
                    <a:pt x="412" y="30"/>
                  </a:lnTo>
                  <a:lnTo>
                    <a:pt x="434" y="42"/>
                  </a:lnTo>
                  <a:lnTo>
                    <a:pt x="456" y="58"/>
                  </a:lnTo>
                  <a:lnTo>
                    <a:pt x="464" y="62"/>
                  </a:lnTo>
                  <a:lnTo>
                    <a:pt x="452" y="78"/>
                  </a:lnTo>
                  <a:lnTo>
                    <a:pt x="446" y="72"/>
                  </a:lnTo>
                  <a:lnTo>
                    <a:pt x="446" y="72"/>
                  </a:lnTo>
                  <a:lnTo>
                    <a:pt x="426" y="58"/>
                  </a:lnTo>
                  <a:lnTo>
                    <a:pt x="404" y="46"/>
                  </a:lnTo>
                  <a:lnTo>
                    <a:pt x="382" y="36"/>
                  </a:lnTo>
                  <a:lnTo>
                    <a:pt x="360" y="28"/>
                  </a:lnTo>
                  <a:lnTo>
                    <a:pt x="336" y="22"/>
                  </a:lnTo>
                  <a:lnTo>
                    <a:pt x="314" y="20"/>
                  </a:lnTo>
                  <a:lnTo>
                    <a:pt x="290" y="18"/>
                  </a:lnTo>
                  <a:lnTo>
                    <a:pt x="266" y="18"/>
                  </a:lnTo>
                  <a:lnTo>
                    <a:pt x="242" y="22"/>
                  </a:lnTo>
                  <a:lnTo>
                    <a:pt x="220" y="26"/>
                  </a:lnTo>
                  <a:lnTo>
                    <a:pt x="198" y="32"/>
                  </a:lnTo>
                  <a:lnTo>
                    <a:pt x="176" y="42"/>
                  </a:lnTo>
                  <a:lnTo>
                    <a:pt x="154" y="52"/>
                  </a:lnTo>
                  <a:lnTo>
                    <a:pt x="134" y="64"/>
                  </a:lnTo>
                  <a:lnTo>
                    <a:pt x="114" y="80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78" y="116"/>
                  </a:lnTo>
                  <a:lnTo>
                    <a:pt x="62" y="136"/>
                  </a:lnTo>
                  <a:lnTo>
                    <a:pt x="48" y="160"/>
                  </a:lnTo>
                  <a:lnTo>
                    <a:pt x="38" y="182"/>
                  </a:lnTo>
                  <a:lnTo>
                    <a:pt x="28" y="208"/>
                  </a:lnTo>
                  <a:lnTo>
                    <a:pt x="22" y="232"/>
                  </a:lnTo>
                  <a:lnTo>
                    <a:pt x="18" y="258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312"/>
                  </a:lnTo>
                  <a:lnTo>
                    <a:pt x="22" y="338"/>
                  </a:lnTo>
                  <a:lnTo>
                    <a:pt x="28" y="364"/>
                  </a:lnTo>
                  <a:lnTo>
                    <a:pt x="38" y="388"/>
                  </a:lnTo>
                  <a:lnTo>
                    <a:pt x="48" y="412"/>
                  </a:lnTo>
                  <a:lnTo>
                    <a:pt x="62" y="434"/>
                  </a:lnTo>
                  <a:lnTo>
                    <a:pt x="78" y="454"/>
                  </a:lnTo>
                  <a:lnTo>
                    <a:pt x="96" y="474"/>
                  </a:lnTo>
                  <a:lnTo>
                    <a:pt x="96" y="474"/>
                  </a:lnTo>
                  <a:lnTo>
                    <a:pt x="116" y="492"/>
                  </a:lnTo>
                  <a:lnTo>
                    <a:pt x="136" y="508"/>
                  </a:lnTo>
                  <a:lnTo>
                    <a:pt x="158" y="522"/>
                  </a:lnTo>
                  <a:lnTo>
                    <a:pt x="182" y="532"/>
                  </a:lnTo>
                  <a:lnTo>
                    <a:pt x="206" y="542"/>
                  </a:lnTo>
                  <a:lnTo>
                    <a:pt x="232" y="548"/>
                  </a:lnTo>
                  <a:lnTo>
                    <a:pt x="258" y="552"/>
                  </a:lnTo>
                  <a:lnTo>
                    <a:pt x="284" y="552"/>
                  </a:lnTo>
                  <a:lnTo>
                    <a:pt x="284" y="552"/>
                  </a:lnTo>
                  <a:lnTo>
                    <a:pt x="312" y="552"/>
                  </a:lnTo>
                  <a:lnTo>
                    <a:pt x="338" y="548"/>
                  </a:lnTo>
                  <a:lnTo>
                    <a:pt x="362" y="542"/>
                  </a:lnTo>
                  <a:lnTo>
                    <a:pt x="388" y="532"/>
                  </a:lnTo>
                  <a:lnTo>
                    <a:pt x="410" y="522"/>
                  </a:lnTo>
                  <a:lnTo>
                    <a:pt x="434" y="508"/>
                  </a:lnTo>
                  <a:lnTo>
                    <a:pt x="454" y="492"/>
                  </a:lnTo>
                  <a:lnTo>
                    <a:pt x="474" y="474"/>
                  </a:lnTo>
                  <a:lnTo>
                    <a:pt x="474" y="474"/>
                  </a:lnTo>
                  <a:lnTo>
                    <a:pt x="492" y="456"/>
                  </a:lnTo>
                  <a:lnTo>
                    <a:pt x="506" y="436"/>
                  </a:lnTo>
                  <a:lnTo>
                    <a:pt x="518" y="416"/>
                  </a:lnTo>
                  <a:lnTo>
                    <a:pt x="530" y="394"/>
                  </a:lnTo>
                  <a:lnTo>
                    <a:pt x="538" y="372"/>
                  </a:lnTo>
                  <a:lnTo>
                    <a:pt x="544" y="348"/>
                  </a:lnTo>
                  <a:lnTo>
                    <a:pt x="550" y="326"/>
                  </a:lnTo>
                  <a:lnTo>
                    <a:pt x="552" y="302"/>
                  </a:lnTo>
                  <a:lnTo>
                    <a:pt x="552" y="278"/>
                  </a:lnTo>
                  <a:lnTo>
                    <a:pt x="550" y="254"/>
                  </a:lnTo>
                  <a:lnTo>
                    <a:pt x="546" y="232"/>
                  </a:lnTo>
                  <a:lnTo>
                    <a:pt x="542" y="208"/>
                  </a:lnTo>
                  <a:lnTo>
                    <a:pt x="534" y="186"/>
                  </a:lnTo>
                  <a:lnTo>
                    <a:pt x="522" y="164"/>
                  </a:lnTo>
                  <a:lnTo>
                    <a:pt x="510" y="142"/>
                  </a:lnTo>
                  <a:lnTo>
                    <a:pt x="496" y="122"/>
                  </a:lnTo>
                  <a:lnTo>
                    <a:pt x="490" y="114"/>
                  </a:lnTo>
                  <a:lnTo>
                    <a:pt x="506" y="104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26" y="132"/>
                  </a:lnTo>
                  <a:lnTo>
                    <a:pt x="538" y="154"/>
                  </a:lnTo>
                  <a:lnTo>
                    <a:pt x="550" y="178"/>
                  </a:lnTo>
                  <a:lnTo>
                    <a:pt x="558" y="202"/>
                  </a:lnTo>
                  <a:lnTo>
                    <a:pt x="564" y="228"/>
                  </a:lnTo>
                  <a:lnTo>
                    <a:pt x="568" y="252"/>
                  </a:lnTo>
                  <a:lnTo>
                    <a:pt x="570" y="278"/>
                  </a:lnTo>
                  <a:lnTo>
                    <a:pt x="570" y="304"/>
                  </a:lnTo>
                  <a:lnTo>
                    <a:pt x="568" y="328"/>
                  </a:lnTo>
                  <a:lnTo>
                    <a:pt x="562" y="354"/>
                  </a:lnTo>
                  <a:lnTo>
                    <a:pt x="556" y="378"/>
                  </a:lnTo>
                  <a:lnTo>
                    <a:pt x="546" y="402"/>
                  </a:lnTo>
                  <a:lnTo>
                    <a:pt x="534" y="424"/>
                  </a:lnTo>
                  <a:lnTo>
                    <a:pt x="520" y="446"/>
                  </a:lnTo>
                  <a:lnTo>
                    <a:pt x="504" y="468"/>
                  </a:lnTo>
                  <a:lnTo>
                    <a:pt x="486" y="488"/>
                  </a:lnTo>
                  <a:lnTo>
                    <a:pt x="486" y="488"/>
                  </a:lnTo>
                  <a:lnTo>
                    <a:pt x="466" y="506"/>
                  </a:lnTo>
                  <a:lnTo>
                    <a:pt x="444" y="524"/>
                  </a:lnTo>
                  <a:lnTo>
                    <a:pt x="420" y="538"/>
                  </a:lnTo>
                  <a:lnTo>
                    <a:pt x="394" y="550"/>
                  </a:lnTo>
                  <a:lnTo>
                    <a:pt x="368" y="558"/>
                  </a:lnTo>
                  <a:lnTo>
                    <a:pt x="342" y="566"/>
                  </a:lnTo>
                  <a:lnTo>
                    <a:pt x="314" y="570"/>
                  </a:lnTo>
                  <a:lnTo>
                    <a:pt x="284" y="570"/>
                  </a:lnTo>
                  <a:lnTo>
                    <a:pt x="284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6">
              <a:extLst>
                <a:ext uri="{FF2B5EF4-FFF2-40B4-BE49-F238E27FC236}">
                  <a16:creationId xmlns:a16="http://schemas.microsoft.com/office/drawing/2014/main" id="{92426D79-E2CA-8E92-C409-63ECB4474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463" y="3271838"/>
              <a:ext cx="727075" cy="727075"/>
            </a:xfrm>
            <a:custGeom>
              <a:avLst/>
              <a:gdLst>
                <a:gd name="T0" fmla="*/ 206 w 458"/>
                <a:gd name="T1" fmla="*/ 458 h 458"/>
                <a:gd name="T2" fmla="*/ 142 w 458"/>
                <a:gd name="T3" fmla="*/ 442 h 458"/>
                <a:gd name="T4" fmla="*/ 84 w 458"/>
                <a:gd name="T5" fmla="*/ 408 h 458"/>
                <a:gd name="T6" fmla="*/ 52 w 458"/>
                <a:gd name="T7" fmla="*/ 374 h 458"/>
                <a:gd name="T8" fmla="*/ 16 w 458"/>
                <a:gd name="T9" fmla="*/ 318 h 458"/>
                <a:gd name="T10" fmla="*/ 0 w 458"/>
                <a:gd name="T11" fmla="*/ 252 h 458"/>
                <a:gd name="T12" fmla="*/ 0 w 458"/>
                <a:gd name="T13" fmla="*/ 206 h 458"/>
                <a:gd name="T14" fmla="*/ 16 w 458"/>
                <a:gd name="T15" fmla="*/ 142 h 458"/>
                <a:gd name="T16" fmla="*/ 52 w 458"/>
                <a:gd name="T17" fmla="*/ 84 h 458"/>
                <a:gd name="T18" fmla="*/ 82 w 458"/>
                <a:gd name="T19" fmla="*/ 54 h 458"/>
                <a:gd name="T20" fmla="*/ 132 w 458"/>
                <a:gd name="T21" fmla="*/ 20 h 458"/>
                <a:gd name="T22" fmla="*/ 190 w 458"/>
                <a:gd name="T23" fmla="*/ 4 h 458"/>
                <a:gd name="T24" fmla="*/ 248 w 458"/>
                <a:gd name="T25" fmla="*/ 0 h 458"/>
                <a:gd name="T26" fmla="*/ 306 w 458"/>
                <a:gd name="T27" fmla="*/ 14 h 458"/>
                <a:gd name="T28" fmla="*/ 360 w 458"/>
                <a:gd name="T29" fmla="*/ 42 h 458"/>
                <a:gd name="T30" fmla="*/ 350 w 458"/>
                <a:gd name="T31" fmla="*/ 56 h 458"/>
                <a:gd name="T32" fmla="*/ 318 w 458"/>
                <a:gd name="T33" fmla="*/ 38 h 458"/>
                <a:gd name="T34" fmla="*/ 264 w 458"/>
                <a:gd name="T35" fmla="*/ 20 h 458"/>
                <a:gd name="T36" fmla="*/ 210 w 458"/>
                <a:gd name="T37" fmla="*/ 18 h 458"/>
                <a:gd name="T38" fmla="*/ 158 w 458"/>
                <a:gd name="T39" fmla="*/ 30 h 458"/>
                <a:gd name="T40" fmla="*/ 108 w 458"/>
                <a:gd name="T41" fmla="*/ 56 h 458"/>
                <a:gd name="T42" fmla="*/ 80 w 458"/>
                <a:gd name="T43" fmla="*/ 80 h 458"/>
                <a:gd name="T44" fmla="*/ 42 w 458"/>
                <a:gd name="T45" fmla="*/ 130 h 458"/>
                <a:gd name="T46" fmla="*/ 22 w 458"/>
                <a:gd name="T47" fmla="*/ 188 h 458"/>
                <a:gd name="T48" fmla="*/ 18 w 458"/>
                <a:gd name="T49" fmla="*/ 230 h 458"/>
                <a:gd name="T50" fmla="*/ 26 w 458"/>
                <a:gd name="T51" fmla="*/ 290 h 458"/>
                <a:gd name="T52" fmla="*/ 52 w 458"/>
                <a:gd name="T53" fmla="*/ 346 h 458"/>
                <a:gd name="T54" fmla="*/ 80 w 458"/>
                <a:gd name="T55" fmla="*/ 378 h 458"/>
                <a:gd name="T56" fmla="*/ 130 w 458"/>
                <a:gd name="T57" fmla="*/ 416 h 458"/>
                <a:gd name="T58" fmla="*/ 188 w 458"/>
                <a:gd name="T59" fmla="*/ 436 h 458"/>
                <a:gd name="T60" fmla="*/ 250 w 458"/>
                <a:gd name="T61" fmla="*/ 440 h 458"/>
                <a:gd name="T62" fmla="*/ 308 w 458"/>
                <a:gd name="T63" fmla="*/ 424 h 458"/>
                <a:gd name="T64" fmla="*/ 362 w 458"/>
                <a:gd name="T65" fmla="*/ 394 h 458"/>
                <a:gd name="T66" fmla="*/ 392 w 458"/>
                <a:gd name="T67" fmla="*/ 364 h 458"/>
                <a:gd name="T68" fmla="*/ 422 w 458"/>
                <a:gd name="T69" fmla="*/ 316 h 458"/>
                <a:gd name="T70" fmla="*/ 438 w 458"/>
                <a:gd name="T71" fmla="*/ 264 h 458"/>
                <a:gd name="T72" fmla="*/ 440 w 458"/>
                <a:gd name="T73" fmla="*/ 210 h 458"/>
                <a:gd name="T74" fmla="*/ 428 w 458"/>
                <a:gd name="T75" fmla="*/ 156 h 458"/>
                <a:gd name="T76" fmla="*/ 400 w 458"/>
                <a:gd name="T77" fmla="*/ 106 h 458"/>
                <a:gd name="T78" fmla="*/ 414 w 458"/>
                <a:gd name="T79" fmla="*/ 94 h 458"/>
                <a:gd name="T80" fmla="*/ 436 w 458"/>
                <a:gd name="T81" fmla="*/ 130 h 458"/>
                <a:gd name="T82" fmla="*/ 454 w 458"/>
                <a:gd name="T83" fmla="*/ 188 h 458"/>
                <a:gd name="T84" fmla="*/ 458 w 458"/>
                <a:gd name="T85" fmla="*/ 248 h 458"/>
                <a:gd name="T86" fmla="*/ 446 w 458"/>
                <a:gd name="T87" fmla="*/ 306 h 458"/>
                <a:gd name="T88" fmla="*/ 418 w 458"/>
                <a:gd name="T89" fmla="*/ 360 h 458"/>
                <a:gd name="T90" fmla="*/ 392 w 458"/>
                <a:gd name="T91" fmla="*/ 392 h 458"/>
                <a:gd name="T92" fmla="*/ 336 w 458"/>
                <a:gd name="T93" fmla="*/ 432 h 458"/>
                <a:gd name="T94" fmla="*/ 272 w 458"/>
                <a:gd name="T95" fmla="*/ 454 h 458"/>
                <a:gd name="T96" fmla="*/ 228 w 458"/>
                <a:gd name="T9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8" h="458">
                  <a:moveTo>
                    <a:pt x="228" y="458"/>
                  </a:moveTo>
                  <a:lnTo>
                    <a:pt x="228" y="458"/>
                  </a:lnTo>
                  <a:lnTo>
                    <a:pt x="206" y="458"/>
                  </a:lnTo>
                  <a:lnTo>
                    <a:pt x="186" y="454"/>
                  </a:lnTo>
                  <a:lnTo>
                    <a:pt x="164" y="450"/>
                  </a:lnTo>
                  <a:lnTo>
                    <a:pt x="142" y="442"/>
                  </a:lnTo>
                  <a:lnTo>
                    <a:pt x="122" y="432"/>
                  </a:lnTo>
                  <a:lnTo>
                    <a:pt x="102" y="420"/>
                  </a:lnTo>
                  <a:lnTo>
                    <a:pt x="84" y="408"/>
                  </a:lnTo>
                  <a:lnTo>
                    <a:pt x="66" y="392"/>
                  </a:lnTo>
                  <a:lnTo>
                    <a:pt x="66" y="392"/>
                  </a:lnTo>
                  <a:lnTo>
                    <a:pt x="52" y="374"/>
                  </a:lnTo>
                  <a:lnTo>
                    <a:pt x="38" y="356"/>
                  </a:lnTo>
                  <a:lnTo>
                    <a:pt x="26" y="338"/>
                  </a:lnTo>
                  <a:lnTo>
                    <a:pt x="16" y="318"/>
                  </a:lnTo>
                  <a:lnTo>
                    <a:pt x="10" y="296"/>
                  </a:lnTo>
                  <a:lnTo>
                    <a:pt x="4" y="274"/>
                  </a:lnTo>
                  <a:lnTo>
                    <a:pt x="0" y="252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06"/>
                  </a:lnTo>
                  <a:lnTo>
                    <a:pt x="4" y="184"/>
                  </a:lnTo>
                  <a:lnTo>
                    <a:pt x="10" y="162"/>
                  </a:lnTo>
                  <a:lnTo>
                    <a:pt x="16" y="142"/>
                  </a:lnTo>
                  <a:lnTo>
                    <a:pt x="26" y="122"/>
                  </a:lnTo>
                  <a:lnTo>
                    <a:pt x="38" y="102"/>
                  </a:lnTo>
                  <a:lnTo>
                    <a:pt x="52" y="8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82" y="54"/>
                  </a:lnTo>
                  <a:lnTo>
                    <a:pt x="98" y="40"/>
                  </a:lnTo>
                  <a:lnTo>
                    <a:pt x="116" y="30"/>
                  </a:lnTo>
                  <a:lnTo>
                    <a:pt x="132" y="20"/>
                  </a:lnTo>
                  <a:lnTo>
                    <a:pt x="152" y="14"/>
                  </a:lnTo>
                  <a:lnTo>
                    <a:pt x="170" y="8"/>
                  </a:lnTo>
                  <a:lnTo>
                    <a:pt x="190" y="4"/>
                  </a:lnTo>
                  <a:lnTo>
                    <a:pt x="208" y="0"/>
                  </a:lnTo>
                  <a:lnTo>
                    <a:pt x="228" y="0"/>
                  </a:lnTo>
                  <a:lnTo>
                    <a:pt x="248" y="0"/>
                  </a:lnTo>
                  <a:lnTo>
                    <a:pt x="268" y="4"/>
                  </a:lnTo>
                  <a:lnTo>
                    <a:pt x="286" y="8"/>
                  </a:lnTo>
                  <a:lnTo>
                    <a:pt x="306" y="14"/>
                  </a:lnTo>
                  <a:lnTo>
                    <a:pt x="324" y="20"/>
                  </a:lnTo>
                  <a:lnTo>
                    <a:pt x="342" y="30"/>
                  </a:lnTo>
                  <a:lnTo>
                    <a:pt x="360" y="42"/>
                  </a:lnTo>
                  <a:lnTo>
                    <a:pt x="368" y="46"/>
                  </a:lnTo>
                  <a:lnTo>
                    <a:pt x="358" y="62"/>
                  </a:lnTo>
                  <a:lnTo>
                    <a:pt x="350" y="56"/>
                  </a:lnTo>
                  <a:lnTo>
                    <a:pt x="350" y="56"/>
                  </a:lnTo>
                  <a:lnTo>
                    <a:pt x="334" y="46"/>
                  </a:lnTo>
                  <a:lnTo>
                    <a:pt x="318" y="38"/>
                  </a:lnTo>
                  <a:lnTo>
                    <a:pt x="300" y="30"/>
                  </a:lnTo>
                  <a:lnTo>
                    <a:pt x="282" y="24"/>
                  </a:lnTo>
                  <a:lnTo>
                    <a:pt x="264" y="20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0" y="18"/>
                  </a:lnTo>
                  <a:lnTo>
                    <a:pt x="192" y="20"/>
                  </a:lnTo>
                  <a:lnTo>
                    <a:pt x="174" y="24"/>
                  </a:lnTo>
                  <a:lnTo>
                    <a:pt x="158" y="30"/>
                  </a:lnTo>
                  <a:lnTo>
                    <a:pt x="140" y="38"/>
                  </a:lnTo>
                  <a:lnTo>
                    <a:pt x="124" y="46"/>
                  </a:lnTo>
                  <a:lnTo>
                    <a:pt x="108" y="56"/>
                  </a:lnTo>
                  <a:lnTo>
                    <a:pt x="94" y="66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66" y="96"/>
                  </a:lnTo>
                  <a:lnTo>
                    <a:pt x="52" y="112"/>
                  </a:lnTo>
                  <a:lnTo>
                    <a:pt x="42" y="130"/>
                  </a:lnTo>
                  <a:lnTo>
                    <a:pt x="34" y="148"/>
                  </a:lnTo>
                  <a:lnTo>
                    <a:pt x="26" y="168"/>
                  </a:lnTo>
                  <a:lnTo>
                    <a:pt x="22" y="188"/>
                  </a:lnTo>
                  <a:lnTo>
                    <a:pt x="18" y="208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50"/>
                  </a:lnTo>
                  <a:lnTo>
                    <a:pt x="22" y="270"/>
                  </a:lnTo>
                  <a:lnTo>
                    <a:pt x="26" y="290"/>
                  </a:lnTo>
                  <a:lnTo>
                    <a:pt x="34" y="310"/>
                  </a:lnTo>
                  <a:lnTo>
                    <a:pt x="42" y="328"/>
                  </a:lnTo>
                  <a:lnTo>
                    <a:pt x="52" y="346"/>
                  </a:lnTo>
                  <a:lnTo>
                    <a:pt x="66" y="364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96" y="394"/>
                  </a:lnTo>
                  <a:lnTo>
                    <a:pt x="112" y="406"/>
                  </a:lnTo>
                  <a:lnTo>
                    <a:pt x="130" y="416"/>
                  </a:lnTo>
                  <a:lnTo>
                    <a:pt x="150" y="426"/>
                  </a:lnTo>
                  <a:lnTo>
                    <a:pt x="168" y="432"/>
                  </a:lnTo>
                  <a:lnTo>
                    <a:pt x="188" y="436"/>
                  </a:lnTo>
                  <a:lnTo>
                    <a:pt x="208" y="440"/>
                  </a:lnTo>
                  <a:lnTo>
                    <a:pt x="228" y="440"/>
                  </a:lnTo>
                  <a:lnTo>
                    <a:pt x="250" y="440"/>
                  </a:lnTo>
                  <a:lnTo>
                    <a:pt x="270" y="436"/>
                  </a:lnTo>
                  <a:lnTo>
                    <a:pt x="290" y="432"/>
                  </a:lnTo>
                  <a:lnTo>
                    <a:pt x="308" y="424"/>
                  </a:lnTo>
                  <a:lnTo>
                    <a:pt x="328" y="416"/>
                  </a:lnTo>
                  <a:lnTo>
                    <a:pt x="346" y="406"/>
                  </a:lnTo>
                  <a:lnTo>
                    <a:pt x="362" y="394"/>
                  </a:lnTo>
                  <a:lnTo>
                    <a:pt x="378" y="378"/>
                  </a:lnTo>
                  <a:lnTo>
                    <a:pt x="378" y="378"/>
                  </a:lnTo>
                  <a:lnTo>
                    <a:pt x="392" y="364"/>
                  </a:lnTo>
                  <a:lnTo>
                    <a:pt x="402" y="350"/>
                  </a:lnTo>
                  <a:lnTo>
                    <a:pt x="414" y="334"/>
                  </a:lnTo>
                  <a:lnTo>
                    <a:pt x="422" y="316"/>
                  </a:lnTo>
                  <a:lnTo>
                    <a:pt x="428" y="300"/>
                  </a:lnTo>
                  <a:lnTo>
                    <a:pt x="434" y="282"/>
                  </a:lnTo>
                  <a:lnTo>
                    <a:pt x="438" y="264"/>
                  </a:lnTo>
                  <a:lnTo>
                    <a:pt x="440" y="246"/>
                  </a:lnTo>
                  <a:lnTo>
                    <a:pt x="440" y="228"/>
                  </a:lnTo>
                  <a:lnTo>
                    <a:pt x="440" y="210"/>
                  </a:lnTo>
                  <a:lnTo>
                    <a:pt x="436" y="192"/>
                  </a:lnTo>
                  <a:lnTo>
                    <a:pt x="432" y="174"/>
                  </a:lnTo>
                  <a:lnTo>
                    <a:pt x="428" y="156"/>
                  </a:lnTo>
                  <a:lnTo>
                    <a:pt x="420" y="138"/>
                  </a:lnTo>
                  <a:lnTo>
                    <a:pt x="410" y="122"/>
                  </a:lnTo>
                  <a:lnTo>
                    <a:pt x="400" y="106"/>
                  </a:lnTo>
                  <a:lnTo>
                    <a:pt x="394" y="98"/>
                  </a:lnTo>
                  <a:lnTo>
                    <a:pt x="410" y="88"/>
                  </a:lnTo>
                  <a:lnTo>
                    <a:pt x="414" y="94"/>
                  </a:lnTo>
                  <a:lnTo>
                    <a:pt x="414" y="94"/>
                  </a:lnTo>
                  <a:lnTo>
                    <a:pt x="426" y="112"/>
                  </a:lnTo>
                  <a:lnTo>
                    <a:pt x="436" y="130"/>
                  </a:lnTo>
                  <a:lnTo>
                    <a:pt x="444" y="150"/>
                  </a:lnTo>
                  <a:lnTo>
                    <a:pt x="450" y="168"/>
                  </a:lnTo>
                  <a:lnTo>
                    <a:pt x="454" y="188"/>
                  </a:lnTo>
                  <a:lnTo>
                    <a:pt x="458" y="208"/>
                  </a:lnTo>
                  <a:lnTo>
                    <a:pt x="458" y="228"/>
                  </a:lnTo>
                  <a:lnTo>
                    <a:pt x="458" y="248"/>
                  </a:lnTo>
                  <a:lnTo>
                    <a:pt x="456" y="268"/>
                  </a:lnTo>
                  <a:lnTo>
                    <a:pt x="452" y="286"/>
                  </a:lnTo>
                  <a:lnTo>
                    <a:pt x="446" y="306"/>
                  </a:lnTo>
                  <a:lnTo>
                    <a:pt x="438" y="324"/>
                  </a:lnTo>
                  <a:lnTo>
                    <a:pt x="428" y="342"/>
                  </a:lnTo>
                  <a:lnTo>
                    <a:pt x="418" y="360"/>
                  </a:lnTo>
                  <a:lnTo>
                    <a:pt x="406" y="376"/>
                  </a:lnTo>
                  <a:lnTo>
                    <a:pt x="392" y="392"/>
                  </a:lnTo>
                  <a:lnTo>
                    <a:pt x="392" y="392"/>
                  </a:lnTo>
                  <a:lnTo>
                    <a:pt x="374" y="408"/>
                  </a:lnTo>
                  <a:lnTo>
                    <a:pt x="356" y="420"/>
                  </a:lnTo>
                  <a:lnTo>
                    <a:pt x="336" y="432"/>
                  </a:lnTo>
                  <a:lnTo>
                    <a:pt x="316" y="442"/>
                  </a:lnTo>
                  <a:lnTo>
                    <a:pt x="294" y="448"/>
                  </a:lnTo>
                  <a:lnTo>
                    <a:pt x="272" y="454"/>
                  </a:lnTo>
                  <a:lnTo>
                    <a:pt x="250" y="458"/>
                  </a:lnTo>
                  <a:lnTo>
                    <a:pt x="228" y="458"/>
                  </a:lnTo>
                  <a:lnTo>
                    <a:pt x="228" y="4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id="{00EF8038-482B-75E2-A0C4-3DCC8907A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363" y="3360738"/>
              <a:ext cx="549275" cy="549275"/>
            </a:xfrm>
            <a:custGeom>
              <a:avLst/>
              <a:gdLst>
                <a:gd name="T0" fmla="*/ 172 w 346"/>
                <a:gd name="T1" fmla="*/ 346 h 346"/>
                <a:gd name="T2" fmla="*/ 140 w 346"/>
                <a:gd name="T3" fmla="*/ 342 h 346"/>
                <a:gd name="T4" fmla="*/ 108 w 346"/>
                <a:gd name="T5" fmla="*/ 334 h 346"/>
                <a:gd name="T6" fmla="*/ 78 w 346"/>
                <a:gd name="T7" fmla="*/ 318 h 346"/>
                <a:gd name="T8" fmla="*/ 50 w 346"/>
                <a:gd name="T9" fmla="*/ 296 h 346"/>
                <a:gd name="T10" fmla="*/ 38 w 346"/>
                <a:gd name="T11" fmla="*/ 282 h 346"/>
                <a:gd name="T12" fmla="*/ 20 w 346"/>
                <a:gd name="T13" fmla="*/ 254 h 346"/>
                <a:gd name="T14" fmla="*/ 8 w 346"/>
                <a:gd name="T15" fmla="*/ 222 h 346"/>
                <a:gd name="T16" fmla="*/ 2 w 346"/>
                <a:gd name="T17" fmla="*/ 190 h 346"/>
                <a:gd name="T18" fmla="*/ 2 w 346"/>
                <a:gd name="T19" fmla="*/ 156 h 346"/>
                <a:gd name="T20" fmla="*/ 8 w 346"/>
                <a:gd name="T21" fmla="*/ 124 h 346"/>
                <a:gd name="T22" fmla="*/ 20 w 346"/>
                <a:gd name="T23" fmla="*/ 92 h 346"/>
                <a:gd name="T24" fmla="*/ 38 w 346"/>
                <a:gd name="T25" fmla="*/ 64 h 346"/>
                <a:gd name="T26" fmla="*/ 50 w 346"/>
                <a:gd name="T27" fmla="*/ 52 h 346"/>
                <a:gd name="T28" fmla="*/ 74 w 346"/>
                <a:gd name="T29" fmla="*/ 32 h 346"/>
                <a:gd name="T30" fmla="*/ 98 w 346"/>
                <a:gd name="T31" fmla="*/ 18 h 346"/>
                <a:gd name="T32" fmla="*/ 152 w 346"/>
                <a:gd name="T33" fmla="*/ 2 h 346"/>
                <a:gd name="T34" fmla="*/ 208 w 346"/>
                <a:gd name="T35" fmla="*/ 4 h 346"/>
                <a:gd name="T36" fmla="*/ 236 w 346"/>
                <a:gd name="T37" fmla="*/ 12 h 346"/>
                <a:gd name="T38" fmla="*/ 262 w 346"/>
                <a:gd name="T39" fmla="*/ 26 h 346"/>
                <a:gd name="T40" fmla="*/ 262 w 346"/>
                <a:gd name="T41" fmla="*/ 46 h 346"/>
                <a:gd name="T42" fmla="*/ 254 w 346"/>
                <a:gd name="T43" fmla="*/ 42 h 346"/>
                <a:gd name="T44" fmla="*/ 206 w 346"/>
                <a:gd name="T45" fmla="*/ 22 h 346"/>
                <a:gd name="T46" fmla="*/ 154 w 346"/>
                <a:gd name="T47" fmla="*/ 20 h 346"/>
                <a:gd name="T48" fmla="*/ 106 w 346"/>
                <a:gd name="T49" fmla="*/ 34 h 346"/>
                <a:gd name="T50" fmla="*/ 64 w 346"/>
                <a:gd name="T51" fmla="*/ 64 h 346"/>
                <a:gd name="T52" fmla="*/ 52 w 346"/>
                <a:gd name="T53" fmla="*/ 76 h 346"/>
                <a:gd name="T54" fmla="*/ 36 w 346"/>
                <a:gd name="T55" fmla="*/ 102 h 346"/>
                <a:gd name="T56" fmla="*/ 24 w 346"/>
                <a:gd name="T57" fmla="*/ 130 h 346"/>
                <a:gd name="T58" fmla="*/ 18 w 346"/>
                <a:gd name="T59" fmla="*/ 158 h 346"/>
                <a:gd name="T60" fmla="*/ 18 w 346"/>
                <a:gd name="T61" fmla="*/ 188 h 346"/>
                <a:gd name="T62" fmla="*/ 24 w 346"/>
                <a:gd name="T63" fmla="*/ 218 h 346"/>
                <a:gd name="T64" fmla="*/ 36 w 346"/>
                <a:gd name="T65" fmla="*/ 246 h 346"/>
                <a:gd name="T66" fmla="*/ 52 w 346"/>
                <a:gd name="T67" fmla="*/ 270 h 346"/>
                <a:gd name="T68" fmla="*/ 64 w 346"/>
                <a:gd name="T69" fmla="*/ 282 h 346"/>
                <a:gd name="T70" fmla="*/ 88 w 346"/>
                <a:gd name="T71" fmla="*/ 302 h 346"/>
                <a:gd name="T72" fmla="*/ 114 w 346"/>
                <a:gd name="T73" fmla="*/ 316 h 346"/>
                <a:gd name="T74" fmla="*/ 144 w 346"/>
                <a:gd name="T75" fmla="*/ 326 h 346"/>
                <a:gd name="T76" fmla="*/ 172 w 346"/>
                <a:gd name="T77" fmla="*/ 328 h 346"/>
                <a:gd name="T78" fmla="*/ 202 w 346"/>
                <a:gd name="T79" fmla="*/ 326 h 346"/>
                <a:gd name="T80" fmla="*/ 232 w 346"/>
                <a:gd name="T81" fmla="*/ 316 h 346"/>
                <a:gd name="T82" fmla="*/ 258 w 346"/>
                <a:gd name="T83" fmla="*/ 302 h 346"/>
                <a:gd name="T84" fmla="*/ 282 w 346"/>
                <a:gd name="T85" fmla="*/ 282 h 346"/>
                <a:gd name="T86" fmla="*/ 300 w 346"/>
                <a:gd name="T87" fmla="*/ 262 h 346"/>
                <a:gd name="T88" fmla="*/ 322 w 346"/>
                <a:gd name="T89" fmla="*/ 216 h 346"/>
                <a:gd name="T90" fmla="*/ 328 w 346"/>
                <a:gd name="T91" fmla="*/ 164 h 346"/>
                <a:gd name="T92" fmla="*/ 316 w 346"/>
                <a:gd name="T93" fmla="*/ 114 h 346"/>
                <a:gd name="T94" fmla="*/ 298 w 346"/>
                <a:gd name="T95" fmla="*/ 82 h 346"/>
                <a:gd name="T96" fmla="*/ 318 w 346"/>
                <a:gd name="T97" fmla="*/ 80 h 346"/>
                <a:gd name="T98" fmla="*/ 326 w 346"/>
                <a:gd name="T99" fmla="*/ 92 h 346"/>
                <a:gd name="T100" fmla="*/ 338 w 346"/>
                <a:gd name="T101" fmla="*/ 120 h 346"/>
                <a:gd name="T102" fmla="*/ 344 w 346"/>
                <a:gd name="T103" fmla="*/ 148 h 346"/>
                <a:gd name="T104" fmla="*/ 344 w 346"/>
                <a:gd name="T105" fmla="*/ 192 h 346"/>
                <a:gd name="T106" fmla="*/ 334 w 346"/>
                <a:gd name="T107" fmla="*/ 234 h 346"/>
                <a:gd name="T108" fmla="*/ 322 w 346"/>
                <a:gd name="T109" fmla="*/ 260 h 346"/>
                <a:gd name="T110" fmla="*/ 306 w 346"/>
                <a:gd name="T111" fmla="*/ 284 h 346"/>
                <a:gd name="T112" fmla="*/ 296 w 346"/>
                <a:gd name="T113" fmla="*/ 296 h 346"/>
                <a:gd name="T114" fmla="*/ 268 w 346"/>
                <a:gd name="T115" fmla="*/ 318 h 346"/>
                <a:gd name="T116" fmla="*/ 238 w 346"/>
                <a:gd name="T117" fmla="*/ 334 h 346"/>
                <a:gd name="T118" fmla="*/ 206 w 346"/>
                <a:gd name="T119" fmla="*/ 342 h 346"/>
                <a:gd name="T120" fmla="*/ 172 w 346"/>
                <a:gd name="T12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6" h="346">
                  <a:moveTo>
                    <a:pt x="172" y="346"/>
                  </a:moveTo>
                  <a:lnTo>
                    <a:pt x="172" y="346"/>
                  </a:lnTo>
                  <a:lnTo>
                    <a:pt x="156" y="346"/>
                  </a:lnTo>
                  <a:lnTo>
                    <a:pt x="140" y="342"/>
                  </a:lnTo>
                  <a:lnTo>
                    <a:pt x="124" y="338"/>
                  </a:lnTo>
                  <a:lnTo>
                    <a:pt x="108" y="334"/>
                  </a:lnTo>
                  <a:lnTo>
                    <a:pt x="92" y="326"/>
                  </a:lnTo>
                  <a:lnTo>
                    <a:pt x="78" y="318"/>
                  </a:lnTo>
                  <a:lnTo>
                    <a:pt x="64" y="308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38" y="282"/>
                  </a:lnTo>
                  <a:lnTo>
                    <a:pt x="28" y="268"/>
                  </a:lnTo>
                  <a:lnTo>
                    <a:pt x="20" y="254"/>
                  </a:lnTo>
                  <a:lnTo>
                    <a:pt x="12" y="238"/>
                  </a:lnTo>
                  <a:lnTo>
                    <a:pt x="8" y="222"/>
                  </a:lnTo>
                  <a:lnTo>
                    <a:pt x="4" y="206"/>
                  </a:lnTo>
                  <a:lnTo>
                    <a:pt x="2" y="190"/>
                  </a:lnTo>
                  <a:lnTo>
                    <a:pt x="0" y="174"/>
                  </a:lnTo>
                  <a:lnTo>
                    <a:pt x="2" y="156"/>
                  </a:lnTo>
                  <a:lnTo>
                    <a:pt x="4" y="140"/>
                  </a:lnTo>
                  <a:lnTo>
                    <a:pt x="8" y="124"/>
                  </a:lnTo>
                  <a:lnTo>
                    <a:pt x="12" y="108"/>
                  </a:lnTo>
                  <a:lnTo>
                    <a:pt x="20" y="92"/>
                  </a:lnTo>
                  <a:lnTo>
                    <a:pt x="28" y="78"/>
                  </a:lnTo>
                  <a:lnTo>
                    <a:pt x="38" y="64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62" y="40"/>
                  </a:lnTo>
                  <a:lnTo>
                    <a:pt x="74" y="32"/>
                  </a:lnTo>
                  <a:lnTo>
                    <a:pt x="86" y="24"/>
                  </a:lnTo>
                  <a:lnTo>
                    <a:pt x="98" y="18"/>
                  </a:lnTo>
                  <a:lnTo>
                    <a:pt x="124" y="8"/>
                  </a:lnTo>
                  <a:lnTo>
                    <a:pt x="152" y="2"/>
                  </a:lnTo>
                  <a:lnTo>
                    <a:pt x="180" y="0"/>
                  </a:lnTo>
                  <a:lnTo>
                    <a:pt x="208" y="4"/>
                  </a:lnTo>
                  <a:lnTo>
                    <a:pt x="222" y="8"/>
                  </a:lnTo>
                  <a:lnTo>
                    <a:pt x="236" y="12"/>
                  </a:lnTo>
                  <a:lnTo>
                    <a:pt x="250" y="18"/>
                  </a:lnTo>
                  <a:lnTo>
                    <a:pt x="262" y="26"/>
                  </a:lnTo>
                  <a:lnTo>
                    <a:pt x="270" y="30"/>
                  </a:lnTo>
                  <a:lnTo>
                    <a:pt x="262" y="46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30" y="30"/>
                  </a:lnTo>
                  <a:lnTo>
                    <a:pt x="206" y="22"/>
                  </a:lnTo>
                  <a:lnTo>
                    <a:pt x="180" y="18"/>
                  </a:lnTo>
                  <a:lnTo>
                    <a:pt x="154" y="20"/>
                  </a:lnTo>
                  <a:lnTo>
                    <a:pt x="130" y="24"/>
                  </a:lnTo>
                  <a:lnTo>
                    <a:pt x="106" y="34"/>
                  </a:lnTo>
                  <a:lnTo>
                    <a:pt x="84" y="46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52" y="76"/>
                  </a:lnTo>
                  <a:lnTo>
                    <a:pt x="44" y="88"/>
                  </a:lnTo>
                  <a:lnTo>
                    <a:pt x="36" y="102"/>
                  </a:lnTo>
                  <a:lnTo>
                    <a:pt x="30" y="114"/>
                  </a:lnTo>
                  <a:lnTo>
                    <a:pt x="24" y="130"/>
                  </a:lnTo>
                  <a:lnTo>
                    <a:pt x="22" y="144"/>
                  </a:lnTo>
                  <a:lnTo>
                    <a:pt x="18" y="158"/>
                  </a:lnTo>
                  <a:lnTo>
                    <a:pt x="18" y="174"/>
                  </a:lnTo>
                  <a:lnTo>
                    <a:pt x="18" y="188"/>
                  </a:lnTo>
                  <a:lnTo>
                    <a:pt x="22" y="202"/>
                  </a:lnTo>
                  <a:lnTo>
                    <a:pt x="24" y="218"/>
                  </a:lnTo>
                  <a:lnTo>
                    <a:pt x="30" y="232"/>
                  </a:lnTo>
                  <a:lnTo>
                    <a:pt x="36" y="246"/>
                  </a:lnTo>
                  <a:lnTo>
                    <a:pt x="44" y="258"/>
                  </a:lnTo>
                  <a:lnTo>
                    <a:pt x="52" y="270"/>
                  </a:lnTo>
                  <a:lnTo>
                    <a:pt x="64" y="282"/>
                  </a:lnTo>
                  <a:lnTo>
                    <a:pt x="64" y="282"/>
                  </a:lnTo>
                  <a:lnTo>
                    <a:pt x="76" y="294"/>
                  </a:lnTo>
                  <a:lnTo>
                    <a:pt x="88" y="302"/>
                  </a:lnTo>
                  <a:lnTo>
                    <a:pt x="100" y="310"/>
                  </a:lnTo>
                  <a:lnTo>
                    <a:pt x="114" y="316"/>
                  </a:lnTo>
                  <a:lnTo>
                    <a:pt x="128" y="322"/>
                  </a:lnTo>
                  <a:lnTo>
                    <a:pt x="144" y="326"/>
                  </a:lnTo>
                  <a:lnTo>
                    <a:pt x="158" y="328"/>
                  </a:lnTo>
                  <a:lnTo>
                    <a:pt x="172" y="328"/>
                  </a:lnTo>
                  <a:lnTo>
                    <a:pt x="188" y="328"/>
                  </a:lnTo>
                  <a:lnTo>
                    <a:pt x="202" y="326"/>
                  </a:lnTo>
                  <a:lnTo>
                    <a:pt x="216" y="322"/>
                  </a:lnTo>
                  <a:lnTo>
                    <a:pt x="232" y="316"/>
                  </a:lnTo>
                  <a:lnTo>
                    <a:pt x="244" y="310"/>
                  </a:lnTo>
                  <a:lnTo>
                    <a:pt x="258" y="302"/>
                  </a:lnTo>
                  <a:lnTo>
                    <a:pt x="270" y="294"/>
                  </a:lnTo>
                  <a:lnTo>
                    <a:pt x="282" y="282"/>
                  </a:lnTo>
                  <a:lnTo>
                    <a:pt x="282" y="282"/>
                  </a:lnTo>
                  <a:lnTo>
                    <a:pt x="300" y="262"/>
                  </a:lnTo>
                  <a:lnTo>
                    <a:pt x="312" y="240"/>
                  </a:lnTo>
                  <a:lnTo>
                    <a:pt x="322" y="216"/>
                  </a:lnTo>
                  <a:lnTo>
                    <a:pt x="326" y="190"/>
                  </a:lnTo>
                  <a:lnTo>
                    <a:pt x="328" y="164"/>
                  </a:lnTo>
                  <a:lnTo>
                    <a:pt x="324" y="138"/>
                  </a:lnTo>
                  <a:lnTo>
                    <a:pt x="316" y="114"/>
                  </a:lnTo>
                  <a:lnTo>
                    <a:pt x="304" y="90"/>
                  </a:lnTo>
                  <a:lnTo>
                    <a:pt x="298" y="82"/>
                  </a:lnTo>
                  <a:lnTo>
                    <a:pt x="314" y="72"/>
                  </a:lnTo>
                  <a:lnTo>
                    <a:pt x="318" y="80"/>
                  </a:lnTo>
                  <a:lnTo>
                    <a:pt x="318" y="80"/>
                  </a:lnTo>
                  <a:lnTo>
                    <a:pt x="326" y="92"/>
                  </a:lnTo>
                  <a:lnTo>
                    <a:pt x="332" y="106"/>
                  </a:lnTo>
                  <a:lnTo>
                    <a:pt x="338" y="120"/>
                  </a:lnTo>
                  <a:lnTo>
                    <a:pt x="342" y="134"/>
                  </a:lnTo>
                  <a:lnTo>
                    <a:pt x="344" y="148"/>
                  </a:lnTo>
                  <a:lnTo>
                    <a:pt x="346" y="162"/>
                  </a:lnTo>
                  <a:lnTo>
                    <a:pt x="344" y="192"/>
                  </a:lnTo>
                  <a:lnTo>
                    <a:pt x="338" y="220"/>
                  </a:lnTo>
                  <a:lnTo>
                    <a:pt x="334" y="234"/>
                  </a:lnTo>
                  <a:lnTo>
                    <a:pt x="328" y="248"/>
                  </a:lnTo>
                  <a:lnTo>
                    <a:pt x="322" y="260"/>
                  </a:lnTo>
                  <a:lnTo>
                    <a:pt x="314" y="272"/>
                  </a:lnTo>
                  <a:lnTo>
                    <a:pt x="306" y="284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282" y="308"/>
                  </a:lnTo>
                  <a:lnTo>
                    <a:pt x="268" y="318"/>
                  </a:lnTo>
                  <a:lnTo>
                    <a:pt x="254" y="326"/>
                  </a:lnTo>
                  <a:lnTo>
                    <a:pt x="238" y="334"/>
                  </a:lnTo>
                  <a:lnTo>
                    <a:pt x="222" y="338"/>
                  </a:lnTo>
                  <a:lnTo>
                    <a:pt x="206" y="342"/>
                  </a:lnTo>
                  <a:lnTo>
                    <a:pt x="190" y="346"/>
                  </a:lnTo>
                  <a:lnTo>
                    <a:pt x="172" y="346"/>
                  </a:lnTo>
                  <a:lnTo>
                    <a:pt x="172" y="3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37B167BB-8943-5C4C-DBD8-1D5761971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7788" y="3459163"/>
              <a:ext cx="352425" cy="352425"/>
            </a:xfrm>
            <a:custGeom>
              <a:avLst/>
              <a:gdLst>
                <a:gd name="T0" fmla="*/ 110 w 222"/>
                <a:gd name="T1" fmla="*/ 222 h 222"/>
                <a:gd name="T2" fmla="*/ 70 w 222"/>
                <a:gd name="T3" fmla="*/ 214 h 222"/>
                <a:gd name="T4" fmla="*/ 32 w 222"/>
                <a:gd name="T5" fmla="*/ 190 h 222"/>
                <a:gd name="T6" fmla="*/ 18 w 222"/>
                <a:gd name="T7" fmla="*/ 172 h 222"/>
                <a:gd name="T8" fmla="*/ 2 w 222"/>
                <a:gd name="T9" fmla="*/ 134 h 222"/>
                <a:gd name="T10" fmla="*/ 0 w 222"/>
                <a:gd name="T11" fmla="*/ 112 h 222"/>
                <a:gd name="T12" fmla="*/ 8 w 222"/>
                <a:gd name="T13" fmla="*/ 68 h 222"/>
                <a:gd name="T14" fmla="*/ 32 w 222"/>
                <a:gd name="T15" fmla="*/ 32 h 222"/>
                <a:gd name="T16" fmla="*/ 46 w 222"/>
                <a:gd name="T17" fmla="*/ 22 h 222"/>
                <a:gd name="T18" fmla="*/ 74 w 222"/>
                <a:gd name="T19" fmla="*/ 6 h 222"/>
                <a:gd name="T20" fmla="*/ 106 w 222"/>
                <a:gd name="T21" fmla="*/ 0 h 222"/>
                <a:gd name="T22" fmla="*/ 138 w 222"/>
                <a:gd name="T23" fmla="*/ 4 h 222"/>
                <a:gd name="T24" fmla="*/ 162 w 222"/>
                <a:gd name="T25" fmla="*/ 12 h 222"/>
                <a:gd name="T26" fmla="*/ 146 w 222"/>
                <a:gd name="T27" fmla="*/ 26 h 222"/>
                <a:gd name="T28" fmla="*/ 134 w 222"/>
                <a:gd name="T29" fmla="*/ 22 h 222"/>
                <a:gd name="T30" fmla="*/ 106 w 222"/>
                <a:gd name="T31" fmla="*/ 18 h 222"/>
                <a:gd name="T32" fmla="*/ 80 w 222"/>
                <a:gd name="T33" fmla="*/ 24 h 222"/>
                <a:gd name="T34" fmla="*/ 56 w 222"/>
                <a:gd name="T35" fmla="*/ 36 h 222"/>
                <a:gd name="T36" fmla="*/ 46 w 222"/>
                <a:gd name="T37" fmla="*/ 46 h 222"/>
                <a:gd name="T38" fmla="*/ 24 w 222"/>
                <a:gd name="T39" fmla="*/ 76 h 222"/>
                <a:gd name="T40" fmla="*/ 18 w 222"/>
                <a:gd name="T41" fmla="*/ 112 h 222"/>
                <a:gd name="T42" fmla="*/ 20 w 222"/>
                <a:gd name="T43" fmla="*/ 130 h 222"/>
                <a:gd name="T44" fmla="*/ 34 w 222"/>
                <a:gd name="T45" fmla="*/ 162 h 222"/>
                <a:gd name="T46" fmla="*/ 46 w 222"/>
                <a:gd name="T47" fmla="*/ 176 h 222"/>
                <a:gd name="T48" fmla="*/ 76 w 222"/>
                <a:gd name="T49" fmla="*/ 198 h 222"/>
                <a:gd name="T50" fmla="*/ 110 w 222"/>
                <a:gd name="T51" fmla="*/ 204 h 222"/>
                <a:gd name="T52" fmla="*/ 146 w 222"/>
                <a:gd name="T53" fmla="*/ 198 h 222"/>
                <a:gd name="T54" fmla="*/ 176 w 222"/>
                <a:gd name="T55" fmla="*/ 176 h 222"/>
                <a:gd name="T56" fmla="*/ 186 w 222"/>
                <a:gd name="T57" fmla="*/ 166 h 222"/>
                <a:gd name="T58" fmla="*/ 198 w 222"/>
                <a:gd name="T59" fmla="*/ 140 h 222"/>
                <a:gd name="T60" fmla="*/ 204 w 222"/>
                <a:gd name="T61" fmla="*/ 114 h 222"/>
                <a:gd name="T62" fmla="*/ 200 w 222"/>
                <a:gd name="T63" fmla="*/ 86 h 222"/>
                <a:gd name="T64" fmla="*/ 192 w 222"/>
                <a:gd name="T65" fmla="*/ 64 h 222"/>
                <a:gd name="T66" fmla="*/ 212 w 222"/>
                <a:gd name="T67" fmla="*/ 64 h 222"/>
                <a:gd name="T68" fmla="*/ 218 w 222"/>
                <a:gd name="T69" fmla="*/ 80 h 222"/>
                <a:gd name="T70" fmla="*/ 222 w 222"/>
                <a:gd name="T71" fmla="*/ 114 h 222"/>
                <a:gd name="T72" fmla="*/ 216 w 222"/>
                <a:gd name="T73" fmla="*/ 146 h 222"/>
                <a:gd name="T74" fmla="*/ 200 w 222"/>
                <a:gd name="T75" fmla="*/ 176 h 222"/>
                <a:gd name="T76" fmla="*/ 190 w 222"/>
                <a:gd name="T77" fmla="*/ 190 h 222"/>
                <a:gd name="T78" fmla="*/ 152 w 222"/>
                <a:gd name="T79" fmla="*/ 214 h 222"/>
                <a:gd name="T80" fmla="*/ 110 w 222"/>
                <a:gd name="T81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2" h="222">
                  <a:moveTo>
                    <a:pt x="110" y="222"/>
                  </a:moveTo>
                  <a:lnTo>
                    <a:pt x="110" y="222"/>
                  </a:lnTo>
                  <a:lnTo>
                    <a:pt x="90" y="220"/>
                  </a:lnTo>
                  <a:lnTo>
                    <a:pt x="70" y="214"/>
                  </a:lnTo>
                  <a:lnTo>
                    <a:pt x="50" y="204"/>
                  </a:lnTo>
                  <a:lnTo>
                    <a:pt x="32" y="190"/>
                  </a:lnTo>
                  <a:lnTo>
                    <a:pt x="32" y="190"/>
                  </a:lnTo>
                  <a:lnTo>
                    <a:pt x="18" y="172"/>
                  </a:lnTo>
                  <a:lnTo>
                    <a:pt x="8" y="154"/>
                  </a:lnTo>
                  <a:lnTo>
                    <a:pt x="2" y="13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2" y="90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6" y="22"/>
                  </a:lnTo>
                  <a:lnTo>
                    <a:pt x="60" y="14"/>
                  </a:lnTo>
                  <a:lnTo>
                    <a:pt x="74" y="6"/>
                  </a:lnTo>
                  <a:lnTo>
                    <a:pt x="90" y="2"/>
                  </a:lnTo>
                  <a:lnTo>
                    <a:pt x="106" y="0"/>
                  </a:lnTo>
                  <a:lnTo>
                    <a:pt x="122" y="0"/>
                  </a:lnTo>
                  <a:lnTo>
                    <a:pt x="138" y="4"/>
                  </a:lnTo>
                  <a:lnTo>
                    <a:pt x="154" y="8"/>
                  </a:lnTo>
                  <a:lnTo>
                    <a:pt x="162" y="12"/>
                  </a:lnTo>
                  <a:lnTo>
                    <a:pt x="156" y="28"/>
                  </a:lnTo>
                  <a:lnTo>
                    <a:pt x="146" y="26"/>
                  </a:lnTo>
                  <a:lnTo>
                    <a:pt x="146" y="26"/>
                  </a:lnTo>
                  <a:lnTo>
                    <a:pt x="134" y="22"/>
                  </a:lnTo>
                  <a:lnTo>
                    <a:pt x="120" y="18"/>
                  </a:lnTo>
                  <a:lnTo>
                    <a:pt x="106" y="18"/>
                  </a:lnTo>
                  <a:lnTo>
                    <a:pt x="92" y="20"/>
                  </a:lnTo>
                  <a:lnTo>
                    <a:pt x="80" y="24"/>
                  </a:lnTo>
                  <a:lnTo>
                    <a:pt x="68" y="28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34" y="60"/>
                  </a:lnTo>
                  <a:lnTo>
                    <a:pt x="24" y="76"/>
                  </a:lnTo>
                  <a:lnTo>
                    <a:pt x="20" y="9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0" y="130"/>
                  </a:lnTo>
                  <a:lnTo>
                    <a:pt x="24" y="146"/>
                  </a:lnTo>
                  <a:lnTo>
                    <a:pt x="34" y="162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60" y="188"/>
                  </a:lnTo>
                  <a:lnTo>
                    <a:pt x="76" y="198"/>
                  </a:lnTo>
                  <a:lnTo>
                    <a:pt x="94" y="202"/>
                  </a:lnTo>
                  <a:lnTo>
                    <a:pt x="110" y="204"/>
                  </a:lnTo>
                  <a:lnTo>
                    <a:pt x="128" y="202"/>
                  </a:lnTo>
                  <a:lnTo>
                    <a:pt x="146" y="198"/>
                  </a:lnTo>
                  <a:lnTo>
                    <a:pt x="162" y="18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86" y="166"/>
                  </a:lnTo>
                  <a:lnTo>
                    <a:pt x="194" y="154"/>
                  </a:lnTo>
                  <a:lnTo>
                    <a:pt x="198" y="140"/>
                  </a:lnTo>
                  <a:lnTo>
                    <a:pt x="202" y="128"/>
                  </a:lnTo>
                  <a:lnTo>
                    <a:pt x="204" y="114"/>
                  </a:lnTo>
                  <a:lnTo>
                    <a:pt x="204" y="100"/>
                  </a:lnTo>
                  <a:lnTo>
                    <a:pt x="200" y="86"/>
                  </a:lnTo>
                  <a:lnTo>
                    <a:pt x="196" y="72"/>
                  </a:lnTo>
                  <a:lnTo>
                    <a:pt x="192" y="64"/>
                  </a:lnTo>
                  <a:lnTo>
                    <a:pt x="208" y="56"/>
                  </a:lnTo>
                  <a:lnTo>
                    <a:pt x="212" y="64"/>
                  </a:lnTo>
                  <a:lnTo>
                    <a:pt x="212" y="64"/>
                  </a:lnTo>
                  <a:lnTo>
                    <a:pt x="218" y="80"/>
                  </a:lnTo>
                  <a:lnTo>
                    <a:pt x="220" y="98"/>
                  </a:lnTo>
                  <a:lnTo>
                    <a:pt x="222" y="114"/>
                  </a:lnTo>
                  <a:lnTo>
                    <a:pt x="220" y="130"/>
                  </a:lnTo>
                  <a:lnTo>
                    <a:pt x="216" y="146"/>
                  </a:lnTo>
                  <a:lnTo>
                    <a:pt x="210" y="162"/>
                  </a:lnTo>
                  <a:lnTo>
                    <a:pt x="200" y="176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72" y="204"/>
                  </a:lnTo>
                  <a:lnTo>
                    <a:pt x="152" y="214"/>
                  </a:lnTo>
                  <a:lnTo>
                    <a:pt x="132" y="220"/>
                  </a:lnTo>
                  <a:lnTo>
                    <a:pt x="110" y="222"/>
                  </a:lnTo>
                  <a:lnTo>
                    <a:pt x="110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id="{F16E01A3-7DFA-F692-5618-C88990470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3" y="3989388"/>
              <a:ext cx="187325" cy="187325"/>
            </a:xfrm>
            <a:custGeom>
              <a:avLst/>
              <a:gdLst>
                <a:gd name="T0" fmla="*/ 12 w 118"/>
                <a:gd name="T1" fmla="*/ 118 h 118"/>
                <a:gd name="T2" fmla="*/ 0 w 118"/>
                <a:gd name="T3" fmla="*/ 106 h 118"/>
                <a:gd name="T4" fmla="*/ 106 w 118"/>
                <a:gd name="T5" fmla="*/ 0 h 118"/>
                <a:gd name="T6" fmla="*/ 118 w 118"/>
                <a:gd name="T7" fmla="*/ 12 h 118"/>
                <a:gd name="T8" fmla="*/ 12 w 11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18">
                  <a:moveTo>
                    <a:pt x="12" y="118"/>
                  </a:moveTo>
                  <a:lnTo>
                    <a:pt x="0" y="106"/>
                  </a:lnTo>
                  <a:lnTo>
                    <a:pt x="106" y="0"/>
                  </a:lnTo>
                  <a:lnTo>
                    <a:pt x="118" y="12"/>
                  </a:lnTo>
                  <a:lnTo>
                    <a:pt x="12" y="1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id="{64B9C746-D4D6-1787-3CF3-A07421BF5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188" y="3983038"/>
              <a:ext cx="187325" cy="190500"/>
            </a:xfrm>
            <a:custGeom>
              <a:avLst/>
              <a:gdLst>
                <a:gd name="T0" fmla="*/ 106 w 118"/>
                <a:gd name="T1" fmla="*/ 120 h 120"/>
                <a:gd name="T2" fmla="*/ 0 w 118"/>
                <a:gd name="T3" fmla="*/ 14 h 120"/>
                <a:gd name="T4" fmla="*/ 12 w 118"/>
                <a:gd name="T5" fmla="*/ 0 h 120"/>
                <a:gd name="T6" fmla="*/ 118 w 118"/>
                <a:gd name="T7" fmla="*/ 106 h 120"/>
                <a:gd name="T8" fmla="*/ 106 w 118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20">
                  <a:moveTo>
                    <a:pt x="106" y="120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18" y="106"/>
                  </a:lnTo>
                  <a:lnTo>
                    <a:pt x="10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Freeform 163">
            <a:extLst>
              <a:ext uri="{FF2B5EF4-FFF2-40B4-BE49-F238E27FC236}">
                <a16:creationId xmlns:a16="http://schemas.microsoft.com/office/drawing/2014/main" id="{9AB9800E-C68B-C995-4FC1-25BB33658AD5}"/>
              </a:ext>
            </a:extLst>
          </p:cNvPr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670865" y="1386384"/>
            <a:ext cx="296795" cy="296795"/>
          </a:xfrm>
          <a:custGeom>
            <a:avLst/>
            <a:gdLst>
              <a:gd name="T0" fmla="*/ 842 w 1031"/>
              <a:gd name="T1" fmla="*/ 154 h 1031"/>
              <a:gd name="T2" fmla="*/ 771 w 1031"/>
              <a:gd name="T3" fmla="*/ 260 h 1031"/>
              <a:gd name="T4" fmla="*/ 877 w 1031"/>
              <a:gd name="T5" fmla="*/ 189 h 1031"/>
              <a:gd name="T6" fmla="*/ 524 w 1031"/>
              <a:gd name="T7" fmla="*/ 7 h 1031"/>
              <a:gd name="T8" fmla="*/ 481 w 1031"/>
              <a:gd name="T9" fmla="*/ 25 h 1031"/>
              <a:gd name="T10" fmla="*/ 506 w 1031"/>
              <a:gd name="T11" fmla="*/ 150 h 1031"/>
              <a:gd name="T12" fmla="*/ 531 w 1031"/>
              <a:gd name="T13" fmla="*/ 25 h 1031"/>
              <a:gd name="T14" fmla="*/ 1024 w 1031"/>
              <a:gd name="T15" fmla="*/ 507 h 1031"/>
              <a:gd name="T16" fmla="*/ 906 w 1031"/>
              <a:gd name="T17" fmla="*/ 500 h 1031"/>
              <a:gd name="T18" fmla="*/ 906 w 1031"/>
              <a:gd name="T19" fmla="*/ 550 h 1031"/>
              <a:gd name="T20" fmla="*/ 1031 w 1031"/>
              <a:gd name="T21" fmla="*/ 525 h 1031"/>
              <a:gd name="T22" fmla="*/ 718 w 1031"/>
              <a:gd name="T23" fmla="*/ 313 h 1031"/>
              <a:gd name="T24" fmla="*/ 142 w 1031"/>
              <a:gd name="T25" fmla="*/ 692 h 1031"/>
              <a:gd name="T26" fmla="*/ 728 w 1031"/>
              <a:gd name="T27" fmla="*/ 727 h 1031"/>
              <a:gd name="T28" fmla="*/ 610 w 1031"/>
              <a:gd name="T29" fmla="*/ 312 h 1031"/>
              <a:gd name="T30" fmla="*/ 612 w 1031"/>
              <a:gd name="T31" fmla="*/ 314 h 1031"/>
              <a:gd name="T32" fmla="*/ 399 w 1031"/>
              <a:gd name="T33" fmla="*/ 371 h 1031"/>
              <a:gd name="T34" fmla="*/ 604 w 1031"/>
              <a:gd name="T35" fmla="*/ 308 h 1031"/>
              <a:gd name="T36" fmla="*/ 170 w 1031"/>
              <a:gd name="T37" fmla="*/ 154 h 1031"/>
              <a:gd name="T38" fmla="*/ 135 w 1031"/>
              <a:gd name="T39" fmla="*/ 189 h 1031"/>
              <a:gd name="T40" fmla="*/ 241 w 1031"/>
              <a:gd name="T41" fmla="*/ 260 h 1031"/>
              <a:gd name="T42" fmla="*/ 170 w 1031"/>
              <a:gd name="T43" fmla="*/ 154 h 1031"/>
              <a:gd name="T44" fmla="*/ 771 w 1031"/>
              <a:gd name="T45" fmla="*/ 790 h 1031"/>
              <a:gd name="T46" fmla="*/ 842 w 1031"/>
              <a:gd name="T47" fmla="*/ 896 h 1031"/>
              <a:gd name="T48" fmla="*/ 877 w 1031"/>
              <a:gd name="T49" fmla="*/ 861 h 1031"/>
              <a:gd name="T50" fmla="*/ 108 w 1031"/>
              <a:gd name="T51" fmla="*/ 728 h 1031"/>
              <a:gd name="T52" fmla="*/ 267 w 1031"/>
              <a:gd name="T53" fmla="*/ 958 h 1031"/>
              <a:gd name="T54" fmla="*/ 108 w 1031"/>
              <a:gd name="T55" fmla="*/ 728 h 1031"/>
              <a:gd name="T56" fmla="*/ 20 w 1031"/>
              <a:gd name="T57" fmla="*/ 817 h 1031"/>
              <a:gd name="T58" fmla="*/ 144 w 1031"/>
              <a:gd name="T59" fmla="*/ 1011 h 1031"/>
              <a:gd name="T60" fmla="*/ 232 w 1031"/>
              <a:gd name="T61" fmla="*/ 993 h 1031"/>
              <a:gd name="T62" fmla="*/ 29 w 1031"/>
              <a:gd name="T63" fmla="*/ 932 h 1031"/>
              <a:gd name="T64" fmla="*/ 99 w 1031"/>
              <a:gd name="T65" fmla="*/ 1002 h 10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31" h="1031">
                <a:moveTo>
                  <a:pt x="877" y="154"/>
                </a:moveTo>
                <a:cubicBezTo>
                  <a:pt x="867" y="144"/>
                  <a:pt x="852" y="144"/>
                  <a:pt x="842" y="154"/>
                </a:cubicBezTo>
                <a:lnTo>
                  <a:pt x="771" y="225"/>
                </a:lnTo>
                <a:cubicBezTo>
                  <a:pt x="761" y="234"/>
                  <a:pt x="761" y="250"/>
                  <a:pt x="771" y="260"/>
                </a:cubicBezTo>
                <a:cubicBezTo>
                  <a:pt x="781" y="270"/>
                  <a:pt x="797" y="270"/>
                  <a:pt x="806" y="260"/>
                </a:cubicBezTo>
                <a:lnTo>
                  <a:pt x="877" y="189"/>
                </a:lnTo>
                <a:cubicBezTo>
                  <a:pt x="887" y="179"/>
                  <a:pt x="887" y="164"/>
                  <a:pt x="877" y="154"/>
                </a:cubicBezTo>
                <a:close/>
                <a:moveTo>
                  <a:pt x="524" y="7"/>
                </a:moveTo>
                <a:cubicBezTo>
                  <a:pt x="519" y="3"/>
                  <a:pt x="513" y="0"/>
                  <a:pt x="506" y="0"/>
                </a:cubicBezTo>
                <a:cubicBezTo>
                  <a:pt x="492" y="0"/>
                  <a:pt x="481" y="11"/>
                  <a:pt x="481" y="25"/>
                </a:cubicBezTo>
                <a:lnTo>
                  <a:pt x="481" y="125"/>
                </a:lnTo>
                <a:cubicBezTo>
                  <a:pt x="481" y="139"/>
                  <a:pt x="492" y="150"/>
                  <a:pt x="506" y="150"/>
                </a:cubicBezTo>
                <a:cubicBezTo>
                  <a:pt x="520" y="150"/>
                  <a:pt x="531" y="139"/>
                  <a:pt x="531" y="125"/>
                </a:cubicBezTo>
                <a:lnTo>
                  <a:pt x="531" y="25"/>
                </a:lnTo>
                <a:cubicBezTo>
                  <a:pt x="531" y="18"/>
                  <a:pt x="528" y="12"/>
                  <a:pt x="524" y="7"/>
                </a:cubicBezTo>
                <a:close/>
                <a:moveTo>
                  <a:pt x="1024" y="507"/>
                </a:moveTo>
                <a:cubicBezTo>
                  <a:pt x="1019" y="503"/>
                  <a:pt x="1013" y="500"/>
                  <a:pt x="1006" y="500"/>
                </a:cubicBezTo>
                <a:lnTo>
                  <a:pt x="906" y="500"/>
                </a:lnTo>
                <a:cubicBezTo>
                  <a:pt x="892" y="500"/>
                  <a:pt x="881" y="511"/>
                  <a:pt x="881" y="525"/>
                </a:cubicBezTo>
                <a:cubicBezTo>
                  <a:pt x="881" y="539"/>
                  <a:pt x="892" y="550"/>
                  <a:pt x="906" y="550"/>
                </a:cubicBezTo>
                <a:lnTo>
                  <a:pt x="1006" y="550"/>
                </a:lnTo>
                <a:cubicBezTo>
                  <a:pt x="1020" y="550"/>
                  <a:pt x="1031" y="539"/>
                  <a:pt x="1031" y="525"/>
                </a:cubicBezTo>
                <a:cubicBezTo>
                  <a:pt x="1031" y="518"/>
                  <a:pt x="1028" y="512"/>
                  <a:pt x="1024" y="507"/>
                </a:cubicBezTo>
                <a:close/>
                <a:moveTo>
                  <a:pt x="718" y="313"/>
                </a:moveTo>
                <a:cubicBezTo>
                  <a:pt x="610" y="205"/>
                  <a:pt x="422" y="184"/>
                  <a:pt x="304" y="303"/>
                </a:cubicBezTo>
                <a:cubicBezTo>
                  <a:pt x="159" y="447"/>
                  <a:pt x="225" y="586"/>
                  <a:pt x="142" y="692"/>
                </a:cubicBezTo>
                <a:lnTo>
                  <a:pt x="339" y="889"/>
                </a:lnTo>
                <a:cubicBezTo>
                  <a:pt x="445" y="806"/>
                  <a:pt x="584" y="872"/>
                  <a:pt x="728" y="727"/>
                </a:cubicBezTo>
                <a:cubicBezTo>
                  <a:pt x="847" y="609"/>
                  <a:pt x="826" y="421"/>
                  <a:pt x="718" y="313"/>
                </a:cubicBezTo>
                <a:close/>
                <a:moveTo>
                  <a:pt x="610" y="312"/>
                </a:moveTo>
                <a:cubicBezTo>
                  <a:pt x="610" y="312"/>
                  <a:pt x="610" y="312"/>
                  <a:pt x="610" y="312"/>
                </a:cubicBezTo>
                <a:cubicBezTo>
                  <a:pt x="611" y="313"/>
                  <a:pt x="611" y="313"/>
                  <a:pt x="612" y="314"/>
                </a:cubicBezTo>
                <a:cubicBezTo>
                  <a:pt x="631" y="333"/>
                  <a:pt x="609" y="366"/>
                  <a:pt x="584" y="354"/>
                </a:cubicBezTo>
                <a:cubicBezTo>
                  <a:pt x="524" y="327"/>
                  <a:pt x="454" y="333"/>
                  <a:pt x="399" y="371"/>
                </a:cubicBezTo>
                <a:cubicBezTo>
                  <a:pt x="372" y="390"/>
                  <a:pt x="343" y="349"/>
                  <a:pt x="371" y="330"/>
                </a:cubicBezTo>
                <a:cubicBezTo>
                  <a:pt x="440" y="282"/>
                  <a:pt x="529" y="274"/>
                  <a:pt x="604" y="308"/>
                </a:cubicBezTo>
                <a:cubicBezTo>
                  <a:pt x="606" y="309"/>
                  <a:pt x="608" y="311"/>
                  <a:pt x="610" y="312"/>
                </a:cubicBezTo>
                <a:close/>
                <a:moveTo>
                  <a:pt x="170" y="154"/>
                </a:moveTo>
                <a:cubicBezTo>
                  <a:pt x="160" y="144"/>
                  <a:pt x="145" y="144"/>
                  <a:pt x="135" y="154"/>
                </a:cubicBezTo>
                <a:cubicBezTo>
                  <a:pt x="125" y="164"/>
                  <a:pt x="125" y="179"/>
                  <a:pt x="135" y="189"/>
                </a:cubicBezTo>
                <a:lnTo>
                  <a:pt x="205" y="260"/>
                </a:lnTo>
                <a:cubicBezTo>
                  <a:pt x="215" y="270"/>
                  <a:pt x="231" y="270"/>
                  <a:pt x="241" y="260"/>
                </a:cubicBezTo>
                <a:cubicBezTo>
                  <a:pt x="251" y="250"/>
                  <a:pt x="251" y="234"/>
                  <a:pt x="241" y="225"/>
                </a:cubicBezTo>
                <a:lnTo>
                  <a:pt x="170" y="154"/>
                </a:lnTo>
                <a:close/>
                <a:moveTo>
                  <a:pt x="806" y="790"/>
                </a:moveTo>
                <a:cubicBezTo>
                  <a:pt x="797" y="780"/>
                  <a:pt x="781" y="780"/>
                  <a:pt x="771" y="790"/>
                </a:cubicBezTo>
                <a:cubicBezTo>
                  <a:pt x="761" y="800"/>
                  <a:pt x="761" y="816"/>
                  <a:pt x="771" y="826"/>
                </a:cubicBezTo>
                <a:lnTo>
                  <a:pt x="842" y="896"/>
                </a:lnTo>
                <a:cubicBezTo>
                  <a:pt x="852" y="906"/>
                  <a:pt x="867" y="906"/>
                  <a:pt x="877" y="896"/>
                </a:cubicBezTo>
                <a:cubicBezTo>
                  <a:pt x="887" y="886"/>
                  <a:pt x="887" y="871"/>
                  <a:pt x="877" y="861"/>
                </a:cubicBezTo>
                <a:lnTo>
                  <a:pt x="806" y="790"/>
                </a:lnTo>
                <a:close/>
                <a:moveTo>
                  <a:pt x="108" y="728"/>
                </a:moveTo>
                <a:lnTo>
                  <a:pt x="73" y="764"/>
                </a:lnTo>
                <a:lnTo>
                  <a:pt x="267" y="958"/>
                </a:lnTo>
                <a:lnTo>
                  <a:pt x="303" y="923"/>
                </a:lnTo>
                <a:lnTo>
                  <a:pt x="108" y="728"/>
                </a:lnTo>
                <a:close/>
                <a:moveTo>
                  <a:pt x="38" y="799"/>
                </a:moveTo>
                <a:lnTo>
                  <a:pt x="20" y="817"/>
                </a:lnTo>
                <a:cubicBezTo>
                  <a:pt x="0" y="837"/>
                  <a:pt x="1" y="869"/>
                  <a:pt x="20" y="887"/>
                </a:cubicBezTo>
                <a:lnTo>
                  <a:pt x="144" y="1011"/>
                </a:lnTo>
                <a:cubicBezTo>
                  <a:pt x="162" y="1030"/>
                  <a:pt x="194" y="1031"/>
                  <a:pt x="214" y="1011"/>
                </a:cubicBezTo>
                <a:lnTo>
                  <a:pt x="232" y="993"/>
                </a:lnTo>
                <a:lnTo>
                  <a:pt x="38" y="799"/>
                </a:lnTo>
                <a:close/>
                <a:moveTo>
                  <a:pt x="29" y="932"/>
                </a:moveTo>
                <a:cubicBezTo>
                  <a:pt x="9" y="951"/>
                  <a:pt x="9" y="983"/>
                  <a:pt x="29" y="1002"/>
                </a:cubicBezTo>
                <a:cubicBezTo>
                  <a:pt x="48" y="1022"/>
                  <a:pt x="80" y="1022"/>
                  <a:pt x="99" y="1002"/>
                </a:cubicBezTo>
                <a:lnTo>
                  <a:pt x="29" y="932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E93753FD-7F47-57FB-4282-2DD3A6732B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68" y="1812261"/>
            <a:ext cx="4903721" cy="38938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Identify ‘nan’ or missing values within data and replace with “0” to indicate that the missing data represents nonexistence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endParaRPr lang="en-US" sz="1600">
              <a:solidFill>
                <a:srgbClr val="2E2E38"/>
              </a:solidFill>
            </a:endParaRP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Convert categorical columns into numeric input for regression modeling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endParaRPr lang="en-US" altLang="en-US" sz="1600">
              <a:solidFill>
                <a:srgbClr val="2E2E38"/>
              </a:solidFill>
            </a:endParaRP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Convert numerical data categories from string to integer to prepare for modeling </a:t>
            </a:r>
            <a:endParaRPr lang="en-US" sz="1600">
              <a:solidFill>
                <a:srgbClr val="2E2E38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B5F5ADE-E96D-B32B-835F-056012D36A1C}"/>
              </a:ext>
            </a:extLst>
          </p:cNvPr>
          <p:cNvGrpSpPr/>
          <p:nvPr/>
        </p:nvGrpSpPr>
        <p:grpSpPr>
          <a:xfrm>
            <a:off x="5944498" y="1809750"/>
            <a:ext cx="291426" cy="4267838"/>
            <a:chOff x="5944498" y="1809750"/>
            <a:chExt cx="291426" cy="4267838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83D9638-217C-DFAA-4EE6-CF44E3B57D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DCE211A-CE95-C4A2-8BF3-6F3F62D7217E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D854E8C9-E807-6223-AD66-058C3D0DFB4C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Graphic 16">
                <a:extLst>
                  <a:ext uri="{FF2B5EF4-FFF2-40B4-BE49-F238E27FC236}">
                    <a16:creationId xmlns:a16="http://schemas.microsoft.com/office/drawing/2014/main" id="{D1E91DDC-0336-EDAF-8045-3841287FBFC1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pic>
        <p:nvPicPr>
          <p:cNvPr id="35" name="Content Placeholder 6">
            <a:extLst>
              <a:ext uri="{FF2B5EF4-FFF2-40B4-BE49-F238E27FC236}">
                <a16:creationId xmlns:a16="http://schemas.microsoft.com/office/drawing/2014/main" id="{B8E4660B-C31F-E82B-75D8-5C93DBE2ECCC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7"/>
          <a:stretch>
            <a:fillRect/>
          </a:stretch>
        </p:blipFill>
        <p:spPr bwMode="auto">
          <a:xfrm>
            <a:off x="6680163" y="1825255"/>
            <a:ext cx="4903721" cy="1594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CD49DD2-DA20-CE34-E2A7-C99C28D8858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23300"/>
          <a:stretch/>
        </p:blipFill>
        <p:spPr>
          <a:xfrm>
            <a:off x="6680163" y="3678626"/>
            <a:ext cx="1976578" cy="411578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1D4D34AA-9180-7F14-4902-D9940C5440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80164" y="4089382"/>
            <a:ext cx="4903720" cy="93503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A0E6270-0746-D83D-A5CE-B1E26981CC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80163" y="5265419"/>
            <a:ext cx="4072792" cy="1162326"/>
          </a:xfrm>
          <a:prstGeom prst="rect">
            <a:avLst/>
          </a:prstGeom>
        </p:spPr>
      </p:pic>
      <p:sp>
        <p:nvSpPr>
          <p:cNvPr id="39" name="Title 2">
            <a:extLst>
              <a:ext uri="{FF2B5EF4-FFF2-40B4-BE49-F238E27FC236}">
                <a16:creationId xmlns:a16="http://schemas.microsoft.com/office/drawing/2014/main" id="{D40F40C0-6CD0-8AFF-28E2-3EB7978F8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656024"/>
            <a:ext cx="11254520" cy="633776"/>
          </a:xfrm>
        </p:spPr>
        <p:txBody>
          <a:bodyPr vert="horz"/>
          <a:lstStyle/>
          <a:p>
            <a:r>
              <a:rPr lang="en-US"/>
              <a:t>Replace nan with 0 to indicate missing </a:t>
            </a:r>
          </a:p>
        </p:txBody>
      </p:sp>
    </p:spTree>
    <p:extLst>
      <p:ext uri="{BB962C8B-B14F-4D97-AF65-F5344CB8AC3E}">
        <p14:creationId xmlns:p14="http://schemas.microsoft.com/office/powerpoint/2010/main" val="1828078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297E9-06B9-94DD-A9DD-D7BA2A4338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56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297E9-06B9-94DD-A9DD-D7BA2A433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623445"/>
            <a:ext cx="11254520" cy="575108"/>
          </a:xfrm>
        </p:spPr>
        <p:txBody>
          <a:bodyPr vert="horz"/>
          <a:lstStyle/>
          <a:p>
            <a:r>
              <a:rPr lang="en-US"/>
              <a:t>Replace 0 and Nan by mean or “None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B85B859-CB51-8A71-35C4-D0E45DDE8852}"/>
              </a:ext>
            </a:extLst>
          </p:cNvPr>
          <p:cNvGrpSpPr/>
          <p:nvPr/>
        </p:nvGrpSpPr>
        <p:grpSpPr>
          <a:xfrm>
            <a:off x="1607595" y="1682497"/>
            <a:ext cx="8976811" cy="2150010"/>
            <a:chOff x="579663" y="1477773"/>
            <a:chExt cx="10325100" cy="260050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B2DCCFA0-1BF1-769B-2003-6DC218FEE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9663" y="1477773"/>
              <a:ext cx="10325100" cy="6477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AAFC982-6890-A700-500B-141E3887B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9663" y="2008136"/>
              <a:ext cx="10134600" cy="1343025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952E824-7251-EA95-1810-46E9599A1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7763" y="3341914"/>
              <a:ext cx="9734550" cy="542925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71F623B-68EE-5D91-9DC3-9E365E5295E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5991" y="3840154"/>
              <a:ext cx="10096500" cy="238125"/>
            </a:xfrm>
            <a:prstGeom prst="rect">
              <a:avLst/>
            </a:prstGeom>
          </p:spPr>
        </p:pic>
      </p:grpSp>
      <p:grpSp>
        <p:nvGrpSpPr>
          <p:cNvPr id="6" name="convertedtitle__637369715831706015">
            <a:extLst>
              <a:ext uri="{FF2B5EF4-FFF2-40B4-BE49-F238E27FC236}">
                <a16:creationId xmlns:a16="http://schemas.microsoft.com/office/drawing/2014/main" id="{B205E932-D50C-6CFE-768A-F366AB551A5D}"/>
              </a:ext>
            </a:extLst>
          </p:cNvPr>
          <p:cNvGrpSpPr/>
          <p:nvPr/>
        </p:nvGrpSpPr>
        <p:grpSpPr>
          <a:xfrm>
            <a:off x="603068" y="4234364"/>
            <a:ext cx="11131732" cy="288147"/>
            <a:chOff x="2832361" y="2160328"/>
            <a:chExt cx="3534683" cy="184982"/>
          </a:xfrm>
        </p:grpSpPr>
        <p:sp>
          <p:nvSpPr>
            <p:cNvPr id="9" name="Arrow: Left-Right 8">
              <a:extLst>
                <a:ext uri="{FF2B5EF4-FFF2-40B4-BE49-F238E27FC236}">
                  <a16:creationId xmlns:a16="http://schemas.microsoft.com/office/drawing/2014/main" id="{01CC7622-1303-2CD9-B061-E4AEE2FCA5CF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For variables representing type or existence of a feature,  replace the “0” or “nan” with “None”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BB81DAA-DC8C-4D64-B790-BD14E5244810}"/>
                </a:ext>
              </a:extLst>
            </p:cNvPr>
            <p:cNvCxnSpPr>
              <a:stCxn id="9" idx="4"/>
              <a:endCxn id="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ED795B7-BDFE-AA18-FBC9-0652B78B9A4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26635" y="4595303"/>
            <a:ext cx="6738730" cy="1911539"/>
          </a:xfrm>
          <a:prstGeom prst="rect">
            <a:avLst/>
          </a:prstGeom>
        </p:spPr>
      </p:pic>
      <p:grpSp>
        <p:nvGrpSpPr>
          <p:cNvPr id="16" name="convertedtitle__637369715831706015">
            <a:extLst>
              <a:ext uri="{FF2B5EF4-FFF2-40B4-BE49-F238E27FC236}">
                <a16:creationId xmlns:a16="http://schemas.microsoft.com/office/drawing/2014/main" id="{686AA015-594B-E94F-4B92-E6672BFBA161}"/>
              </a:ext>
            </a:extLst>
          </p:cNvPr>
          <p:cNvGrpSpPr/>
          <p:nvPr/>
        </p:nvGrpSpPr>
        <p:grpSpPr>
          <a:xfrm>
            <a:off x="480280" y="1314676"/>
            <a:ext cx="11131732" cy="288147"/>
            <a:chOff x="2832361" y="2160328"/>
            <a:chExt cx="3534683" cy="184982"/>
          </a:xfrm>
        </p:grpSpPr>
        <p:sp>
          <p:nvSpPr>
            <p:cNvPr id="17" name="Arrow: Left-Right 16">
              <a:extLst>
                <a:ext uri="{FF2B5EF4-FFF2-40B4-BE49-F238E27FC236}">
                  <a16:creationId xmlns:a16="http://schemas.microsoft.com/office/drawing/2014/main" id="{66340384-9C55-E51D-6C2F-669A2F6B0BE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For variables representing qualities or a continuous variable, replace the “0” or “nan” with the mean value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47179FD-3FEF-FC0B-6BE6-3F572CC74108}"/>
                </a:ext>
              </a:extLst>
            </p:cNvPr>
            <p:cNvCxnSpPr>
              <a:stCxn id="17" idx="4"/>
              <a:endCxn id="17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01133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BBE847BB-D8B0-F63A-93AF-86A12B81BB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8548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BBE847BB-D8B0-F63A-93AF-86A12B81B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134" y="617475"/>
            <a:ext cx="11254520" cy="1126345"/>
          </a:xfrm>
        </p:spPr>
        <p:txBody>
          <a:bodyPr vert="horz"/>
          <a:lstStyle/>
          <a:p>
            <a:r>
              <a:rPr lang="en-US"/>
              <a:t>Consolidate variables into new colum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092DA-9F70-A7AE-5338-ED48438AF94B}"/>
              </a:ext>
            </a:extLst>
          </p:cNvPr>
          <p:cNvSpPr txBox="1"/>
          <p:nvPr/>
        </p:nvSpPr>
        <p:spPr>
          <a:xfrm>
            <a:off x="612912" y="1224628"/>
            <a:ext cx="5247345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Garage Grade Feature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173BAF2-60CB-F73C-9CBC-FD1ADF67EF3C}"/>
              </a:ext>
            </a:extLst>
          </p:cNvPr>
          <p:cNvSpPr>
            <a:spLocks noChangeAspect="1"/>
          </p:cNvSpPr>
          <p:nvPr/>
        </p:nvSpPr>
        <p:spPr>
          <a:xfrm>
            <a:off x="691708" y="1312084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AEB5E2-F731-A6C5-2686-46EE4B224780}"/>
              </a:ext>
            </a:extLst>
          </p:cNvPr>
          <p:cNvSpPr txBox="1"/>
          <p:nvPr/>
        </p:nvSpPr>
        <p:spPr>
          <a:xfrm>
            <a:off x="6286480" y="1218334"/>
            <a:ext cx="5290873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Kitchen Qualit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34D85C9-6588-FCC7-EC3F-DA3CDF7BEF28}"/>
              </a:ext>
            </a:extLst>
          </p:cNvPr>
          <p:cNvSpPr>
            <a:spLocks noChangeAspect="1"/>
          </p:cNvSpPr>
          <p:nvPr/>
        </p:nvSpPr>
        <p:spPr>
          <a:xfrm>
            <a:off x="6361413" y="1318000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F17F26-85E1-0D8A-4AA0-594C19A050CE}"/>
              </a:ext>
            </a:extLst>
          </p:cNvPr>
          <p:cNvSpPr txBox="1"/>
          <p:nvPr/>
        </p:nvSpPr>
        <p:spPr>
          <a:xfrm>
            <a:off x="560000" y="2363546"/>
            <a:ext cx="5247345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External Grad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652205B-87AE-1F25-6734-C448709DDE5C}"/>
              </a:ext>
            </a:extLst>
          </p:cNvPr>
          <p:cNvSpPr>
            <a:spLocks noChangeAspect="1"/>
          </p:cNvSpPr>
          <p:nvPr/>
        </p:nvSpPr>
        <p:spPr>
          <a:xfrm>
            <a:off x="619526" y="2459477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3E251-610D-2AAE-0EB8-59568D7F6109}"/>
              </a:ext>
            </a:extLst>
          </p:cNvPr>
          <p:cNvSpPr txBox="1"/>
          <p:nvPr/>
        </p:nvSpPr>
        <p:spPr>
          <a:xfrm>
            <a:off x="6233566" y="2363544"/>
            <a:ext cx="5290873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Final Square Footage Area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307554B-C365-5880-F118-460F5448CD44}"/>
              </a:ext>
            </a:extLst>
          </p:cNvPr>
          <p:cNvSpPr>
            <a:spLocks noChangeAspect="1"/>
          </p:cNvSpPr>
          <p:nvPr/>
        </p:nvSpPr>
        <p:spPr>
          <a:xfrm>
            <a:off x="6304837" y="2457294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6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B8A33C4-1448-4776-ECF4-7044BDC86950}"/>
              </a:ext>
            </a:extLst>
          </p:cNvPr>
          <p:cNvCxnSpPr>
            <a:stCxn id="2" idx="4"/>
            <a:endCxn id="2" idx="6"/>
          </p:cNvCxnSpPr>
          <p:nvPr/>
        </p:nvCxnSpPr>
        <p:spPr>
          <a:xfrm>
            <a:off x="612912" y="1693378"/>
            <a:ext cx="5247345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59EA79C-5A02-E768-3A97-FF47C7A44C97}"/>
              </a:ext>
            </a:extLst>
          </p:cNvPr>
          <p:cNvCxnSpPr>
            <a:cxnSpLocks/>
            <a:stCxn id="12" idx="4"/>
            <a:endCxn id="12" idx="6"/>
          </p:cNvCxnSpPr>
          <p:nvPr/>
        </p:nvCxnSpPr>
        <p:spPr>
          <a:xfrm>
            <a:off x="6286480" y="1687084"/>
            <a:ext cx="5290873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59F6A99-8200-325A-D6A1-A4E5674BC100}"/>
              </a:ext>
            </a:extLst>
          </p:cNvPr>
          <p:cNvCxnSpPr>
            <a:cxnSpLocks/>
            <a:stCxn id="14" idx="4"/>
            <a:endCxn id="14" idx="6"/>
          </p:cNvCxnSpPr>
          <p:nvPr/>
        </p:nvCxnSpPr>
        <p:spPr>
          <a:xfrm>
            <a:off x="560000" y="2832296"/>
            <a:ext cx="5247345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7B6C51-9C7D-3946-DD77-129EF51D0B23}"/>
              </a:ext>
            </a:extLst>
          </p:cNvPr>
          <p:cNvCxnSpPr>
            <a:cxnSpLocks/>
            <a:stCxn id="16" idx="4"/>
            <a:endCxn id="16" idx="6"/>
          </p:cNvCxnSpPr>
          <p:nvPr/>
        </p:nvCxnSpPr>
        <p:spPr>
          <a:xfrm>
            <a:off x="6233566" y="2832294"/>
            <a:ext cx="5290873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F8F41AF1-76A1-BD15-974C-C7889447B35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3" r="22685" b="82943"/>
          <a:stretch/>
        </p:blipFill>
        <p:spPr>
          <a:xfrm>
            <a:off x="610047" y="1767879"/>
            <a:ext cx="5287763" cy="50684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9CE6C15-6E3D-4859-44A5-FFF5CFC2655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3" t="21354" r="8598" b="55621"/>
          <a:stretch/>
        </p:blipFill>
        <p:spPr>
          <a:xfrm>
            <a:off x="6294191" y="1701149"/>
            <a:ext cx="5313280" cy="58075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680569D-9A35-7421-D463-9D5A01DE52D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4" t="47850" r="25241" b="32815"/>
          <a:stretch/>
        </p:blipFill>
        <p:spPr>
          <a:xfrm>
            <a:off x="557134" y="2860835"/>
            <a:ext cx="5187819" cy="5831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CB8D522-BDEE-C198-06D7-CA01636952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4" t="69351"/>
          <a:stretch/>
        </p:blipFill>
        <p:spPr>
          <a:xfrm>
            <a:off x="6233564" y="2878297"/>
            <a:ext cx="5525176" cy="734295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30E3F8BD-3CE1-8F9A-4D2E-1F58B55A8EC6}"/>
              </a:ext>
            </a:extLst>
          </p:cNvPr>
          <p:cNvSpPr txBox="1"/>
          <p:nvPr/>
        </p:nvSpPr>
        <p:spPr>
          <a:xfrm>
            <a:off x="557134" y="3738690"/>
            <a:ext cx="5247345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Overall Quality Condition 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C9EE8964-54BD-2370-0424-0A4E94A8C902}"/>
              </a:ext>
            </a:extLst>
          </p:cNvPr>
          <p:cNvSpPr>
            <a:spLocks noChangeAspect="1"/>
          </p:cNvSpPr>
          <p:nvPr/>
        </p:nvSpPr>
        <p:spPr>
          <a:xfrm>
            <a:off x="635930" y="3826146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D7C0EFA-1D82-2B3A-413B-D703E780416A}"/>
              </a:ext>
            </a:extLst>
          </p:cNvPr>
          <p:cNvSpPr txBox="1"/>
          <p:nvPr/>
        </p:nvSpPr>
        <p:spPr>
          <a:xfrm>
            <a:off x="6230702" y="3732396"/>
            <a:ext cx="5290873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 err="1">
                <a:solidFill>
                  <a:srgbClr val="1E3A74"/>
                </a:solidFill>
                <a:latin typeface="Arial"/>
              </a:rPr>
              <a:t>Porchs</a:t>
            </a:r>
            <a:endParaRPr lang="en-US" sz="1100" b="1">
              <a:solidFill>
                <a:srgbClr val="1E3A74"/>
              </a:solidFill>
              <a:latin typeface="Arial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ECC68AC0-7CE4-8AEC-4239-BC0B3A2AA1EB}"/>
              </a:ext>
            </a:extLst>
          </p:cNvPr>
          <p:cNvSpPr>
            <a:spLocks noChangeAspect="1"/>
          </p:cNvSpPr>
          <p:nvPr/>
        </p:nvSpPr>
        <p:spPr>
          <a:xfrm>
            <a:off x="6305635" y="3832062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7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3764893-FD62-3BC0-AD31-94E1EF58E3BC}"/>
              </a:ext>
            </a:extLst>
          </p:cNvPr>
          <p:cNvSpPr txBox="1"/>
          <p:nvPr/>
        </p:nvSpPr>
        <p:spPr>
          <a:xfrm>
            <a:off x="557134" y="5013644"/>
            <a:ext cx="5247345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Bathrooms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BDFEF89-D5CB-2505-140A-D106F54505E3}"/>
              </a:ext>
            </a:extLst>
          </p:cNvPr>
          <p:cNvSpPr>
            <a:spLocks noChangeAspect="1"/>
          </p:cNvSpPr>
          <p:nvPr/>
        </p:nvSpPr>
        <p:spPr>
          <a:xfrm>
            <a:off x="616660" y="5109575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2D9E2B3-4F61-766B-CEDF-475C4F20D0FB}"/>
              </a:ext>
            </a:extLst>
          </p:cNvPr>
          <p:cNvSpPr txBox="1"/>
          <p:nvPr/>
        </p:nvSpPr>
        <p:spPr>
          <a:xfrm>
            <a:off x="6230700" y="5013642"/>
            <a:ext cx="5290873" cy="468750"/>
          </a:xfrm>
          <a:prstGeom prst="leftRightArrow">
            <a:avLst>
              <a:gd name="adj1" fmla="val 100000"/>
              <a:gd name="adj2" fmla="val 0"/>
            </a:avLst>
          </a:prstGeom>
          <a:noFill/>
        </p:spPr>
        <p:txBody>
          <a:bodyPr wrap="square" lIns="468000" rtlCol="0" anchor="ctr"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1E3A74"/>
                </a:solidFill>
                <a:latin typeface="Arial"/>
              </a:rPr>
              <a:t>Basement Quality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8FB98AC-4F35-8A38-9357-515D46BA6A50}"/>
              </a:ext>
            </a:extLst>
          </p:cNvPr>
          <p:cNvSpPr>
            <a:spLocks noChangeAspect="1"/>
          </p:cNvSpPr>
          <p:nvPr/>
        </p:nvSpPr>
        <p:spPr>
          <a:xfrm>
            <a:off x="6301971" y="5107392"/>
            <a:ext cx="281250" cy="281250"/>
          </a:xfrm>
          <a:prstGeom prst="ellipse">
            <a:avLst/>
          </a:prstGeom>
          <a:solidFill>
            <a:schemeClr val="accent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8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F7890698-2EC8-649B-E11D-F8FE7BD63EBF}"/>
              </a:ext>
            </a:extLst>
          </p:cNvPr>
          <p:cNvCxnSpPr>
            <a:stCxn id="54" idx="4"/>
            <a:endCxn id="54" idx="6"/>
          </p:cNvCxnSpPr>
          <p:nvPr/>
        </p:nvCxnSpPr>
        <p:spPr>
          <a:xfrm>
            <a:off x="557134" y="4207440"/>
            <a:ext cx="5247345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54ACC43-97F2-B00D-D00F-D68F2E2DEA08}"/>
              </a:ext>
            </a:extLst>
          </p:cNvPr>
          <p:cNvCxnSpPr>
            <a:cxnSpLocks/>
            <a:stCxn id="60" idx="4"/>
            <a:endCxn id="60" idx="6"/>
          </p:cNvCxnSpPr>
          <p:nvPr/>
        </p:nvCxnSpPr>
        <p:spPr>
          <a:xfrm>
            <a:off x="6230702" y="4201146"/>
            <a:ext cx="5290873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4BE8483-E693-0EC9-0FF1-FEBA395ECAAF}"/>
              </a:ext>
            </a:extLst>
          </p:cNvPr>
          <p:cNvCxnSpPr>
            <a:cxnSpLocks/>
            <a:stCxn id="62" idx="4"/>
            <a:endCxn id="62" idx="6"/>
          </p:cNvCxnSpPr>
          <p:nvPr/>
        </p:nvCxnSpPr>
        <p:spPr>
          <a:xfrm>
            <a:off x="557134" y="5482394"/>
            <a:ext cx="5247345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A1A7205-8771-35C2-B721-50B2AEC88AE2}"/>
              </a:ext>
            </a:extLst>
          </p:cNvPr>
          <p:cNvCxnSpPr>
            <a:cxnSpLocks/>
            <a:stCxn id="64" idx="4"/>
            <a:endCxn id="64" idx="6"/>
          </p:cNvCxnSpPr>
          <p:nvPr/>
        </p:nvCxnSpPr>
        <p:spPr>
          <a:xfrm>
            <a:off x="6230700" y="5482392"/>
            <a:ext cx="5290873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EAD08C69-6997-0BDB-5F2C-D42BAB0C712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71" r="27161" b="82458"/>
          <a:stretch/>
        </p:blipFill>
        <p:spPr>
          <a:xfrm>
            <a:off x="557134" y="4268360"/>
            <a:ext cx="4733879" cy="550178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0F740E03-94D9-A970-4760-4BFB2C6766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71" t="18367" r="1" b="53875"/>
          <a:stretch/>
        </p:blipFill>
        <p:spPr>
          <a:xfrm>
            <a:off x="558707" y="5543314"/>
            <a:ext cx="5339103" cy="713133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3234687B-A88A-D10E-048C-2A5ACB095C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71" t="49656" r="1" b="20646"/>
          <a:stretch/>
        </p:blipFill>
        <p:spPr>
          <a:xfrm>
            <a:off x="6286478" y="4243748"/>
            <a:ext cx="5525176" cy="789579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C192A12E-7C6B-97DF-0B34-157CD27ADCB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71" t="82798" r="28966"/>
          <a:stretch/>
        </p:blipFill>
        <p:spPr>
          <a:xfrm>
            <a:off x="6230701" y="5507242"/>
            <a:ext cx="4925974" cy="57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4273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42848"/>
            <a:ext cx="11254520" cy="575108"/>
          </a:xfrm>
        </p:spPr>
        <p:txBody>
          <a:bodyPr/>
          <a:lstStyle/>
          <a:p>
            <a:r>
              <a:rPr lang="en-US"/>
              <a:t>Ordinal encoder for categorical val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53F2A13D-985C-D9D9-D787-2A003E965A1C}"/>
              </a:ext>
            </a:extLst>
          </p:cNvPr>
          <p:cNvSpPr txBox="1"/>
          <p:nvPr/>
        </p:nvSpPr>
        <p:spPr>
          <a:xfrm>
            <a:off x="457962" y="1422986"/>
            <a:ext cx="11302365" cy="335348"/>
          </a:xfrm>
          <a:prstGeom prst="rect">
            <a:avLst/>
          </a:prstGeom>
          <a:ln w="9525">
            <a:solidFill>
              <a:schemeClr val="accent1"/>
            </a:solidFill>
            <a:prstDash val="sysDot"/>
          </a:ln>
        </p:spPr>
        <p:txBody>
          <a:bodyPr vert="horz" wrap="square" lIns="0" tIns="88265" rIns="0" bIns="0" rtlCol="0">
            <a:spAutoFit/>
          </a:bodyPr>
          <a:lstStyle/>
          <a:p>
            <a:pPr marL="651510" algn="ctr">
              <a:lnSpc>
                <a:spcPct val="100000"/>
              </a:lnSpc>
              <a:spcBef>
                <a:spcPts val="695"/>
              </a:spcBef>
            </a:pPr>
            <a:r>
              <a:rPr lang="en-US" sz="1600" b="1" i="1">
                <a:solidFill>
                  <a:srgbClr val="1E3A74"/>
                </a:solidFill>
                <a:latin typeface="Arial"/>
                <a:cs typeface="Arial"/>
              </a:rPr>
              <a:t>Utilize Ordinal Encoder for Categorical Values to Convert into Numerical Feature</a:t>
            </a:r>
            <a:endParaRPr sz="1600" i="1">
              <a:solidFill>
                <a:srgbClr val="1E3A74"/>
              </a:solidFill>
              <a:latin typeface="Arial"/>
              <a:cs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074EA6AF-FCC8-A893-0CFA-7731D3DC9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7372" y="2562687"/>
            <a:ext cx="5474970" cy="959312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0B393B99-CF69-1442-227A-9DD9BAA41B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2790" y="4754978"/>
            <a:ext cx="5468644" cy="589009"/>
          </a:xfrm>
          <a:prstGeom prst="rect">
            <a:avLst/>
          </a:prstGeom>
        </p:spPr>
      </p:pic>
      <p:grpSp>
        <p:nvGrpSpPr>
          <p:cNvPr id="61" name="convertedtitle__637369715831706015">
            <a:extLst>
              <a:ext uri="{FF2B5EF4-FFF2-40B4-BE49-F238E27FC236}">
                <a16:creationId xmlns:a16="http://schemas.microsoft.com/office/drawing/2014/main" id="{BE20BD87-FD0A-55B4-C3B2-18A85B0D797B}"/>
              </a:ext>
            </a:extLst>
          </p:cNvPr>
          <p:cNvGrpSpPr/>
          <p:nvPr/>
        </p:nvGrpSpPr>
        <p:grpSpPr>
          <a:xfrm>
            <a:off x="6188280" y="2217273"/>
            <a:ext cx="5468644" cy="288147"/>
            <a:chOff x="2832361" y="2160328"/>
            <a:chExt cx="3534683" cy="184982"/>
          </a:xfrm>
        </p:grpSpPr>
        <p:sp>
          <p:nvSpPr>
            <p:cNvPr id="62" name="Arrow: Left-Right 61">
              <a:extLst>
                <a:ext uri="{FF2B5EF4-FFF2-40B4-BE49-F238E27FC236}">
                  <a16:creationId xmlns:a16="http://schemas.microsoft.com/office/drawing/2014/main" id="{B1CAB074-EC48-EB0F-F55C-F13F33670B7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Categorical Feature Identification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10FA775-74FF-1F85-1AB2-E2298AA20147}"/>
                </a:ext>
              </a:extLst>
            </p:cNvPr>
            <p:cNvCxnSpPr>
              <a:stCxn id="62" idx="4"/>
              <a:endCxn id="6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convertedtitle__637369715831706015">
            <a:extLst>
              <a:ext uri="{FF2B5EF4-FFF2-40B4-BE49-F238E27FC236}">
                <a16:creationId xmlns:a16="http://schemas.microsoft.com/office/drawing/2014/main" id="{FDEFB40D-D075-787A-3B55-CF2CC665EE5C}"/>
              </a:ext>
            </a:extLst>
          </p:cNvPr>
          <p:cNvGrpSpPr/>
          <p:nvPr/>
        </p:nvGrpSpPr>
        <p:grpSpPr>
          <a:xfrm>
            <a:off x="6187372" y="4421409"/>
            <a:ext cx="5468644" cy="288147"/>
            <a:chOff x="2832361" y="2160328"/>
            <a:chExt cx="3534683" cy="184982"/>
          </a:xfrm>
        </p:grpSpPr>
        <p:sp>
          <p:nvSpPr>
            <p:cNvPr id="65" name="Arrow: Left-Right 64">
              <a:extLst>
                <a:ext uri="{FF2B5EF4-FFF2-40B4-BE49-F238E27FC236}">
                  <a16:creationId xmlns:a16="http://schemas.microsoft.com/office/drawing/2014/main" id="{1513C5E4-06C9-FD2D-127E-462BDB678A9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Ordinal Encoder Fit &amp; Application</a:t>
              </a: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7C3E8A5-ED75-153D-8041-5FEBFB5AB206}"/>
                </a:ext>
              </a:extLst>
            </p:cNvPr>
            <p:cNvCxnSpPr>
              <a:stCxn id="65" idx="4"/>
              <a:endCxn id="65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8B774B38-9FF1-2A50-1F14-5F527DD98CFB}"/>
              </a:ext>
            </a:extLst>
          </p:cNvPr>
          <p:cNvSpPr/>
          <p:nvPr/>
        </p:nvSpPr>
        <p:spPr>
          <a:xfrm>
            <a:off x="5650341" y="3495847"/>
            <a:ext cx="684491" cy="105810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 err="1">
              <a:solidFill>
                <a:schemeClr val="bg1"/>
              </a:solidFill>
            </a:endParaRPr>
          </a:p>
        </p:txBody>
      </p:sp>
      <p:sp>
        <p:nvSpPr>
          <p:cNvPr id="68" name="Rectangle 2">
            <a:extLst>
              <a:ext uri="{FF2B5EF4-FFF2-40B4-BE49-F238E27FC236}">
                <a16:creationId xmlns:a16="http://schemas.microsoft.com/office/drawing/2014/main" id="{D1715F63-6604-972B-FFEB-7F0C4D78C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4161" y="2562687"/>
            <a:ext cx="4903721" cy="3503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termine all categorical columns which require conversion into a numerical feature for each unique category in order to utilize regression modeling capabilitie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endParaRPr lang="en-US" altLang="en-US" sz="1600">
              <a:solidFill>
                <a:srgbClr val="2E2E38"/>
              </a:solidFill>
            </a:endParaRP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rain the ordinal encoder for each categorical feature within the training data and apply to both train and test data sets</a:t>
            </a:r>
          </a:p>
          <a:p>
            <a:pPr marL="144000" indent="-14400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If a new category appears in the test data, replace with 999 </a:t>
            </a:r>
          </a:p>
        </p:txBody>
      </p:sp>
      <p:grpSp>
        <p:nvGrpSpPr>
          <p:cNvPr id="69" name="convertedtitle__637369715831706015">
            <a:extLst>
              <a:ext uri="{FF2B5EF4-FFF2-40B4-BE49-F238E27FC236}">
                <a16:creationId xmlns:a16="http://schemas.microsoft.com/office/drawing/2014/main" id="{9E908856-1BFA-5F5B-1F19-FFBEFE82AE9A}"/>
              </a:ext>
            </a:extLst>
          </p:cNvPr>
          <p:cNvGrpSpPr/>
          <p:nvPr/>
        </p:nvGrpSpPr>
        <p:grpSpPr>
          <a:xfrm>
            <a:off x="784161" y="2217273"/>
            <a:ext cx="4686885" cy="288147"/>
            <a:chOff x="2832361" y="2160328"/>
            <a:chExt cx="3534683" cy="184982"/>
          </a:xfrm>
        </p:grpSpPr>
        <p:sp>
          <p:nvSpPr>
            <p:cNvPr id="70" name="Arrow: Left-Right 69">
              <a:extLst>
                <a:ext uri="{FF2B5EF4-FFF2-40B4-BE49-F238E27FC236}">
                  <a16:creationId xmlns:a16="http://schemas.microsoft.com/office/drawing/2014/main" id="{5F13EF89-0171-AE00-C835-2B5938E73C6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scrip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3403248-E68E-2525-64CD-63A0D229EA40}"/>
                </a:ext>
              </a:extLst>
            </p:cNvPr>
            <p:cNvCxnSpPr>
              <a:stCxn id="70" idx="4"/>
              <a:endCxn id="70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472605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F9F8A0-4560-D27D-D202-82FBABE87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8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3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F9F8A0-4560-D27D-D202-82FBABE87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42848"/>
            <a:ext cx="11254520" cy="575108"/>
          </a:xfrm>
        </p:spPr>
        <p:txBody>
          <a:bodyPr vert="horz"/>
          <a:lstStyle/>
          <a:p>
            <a:r>
              <a:rPr lang="en-US"/>
              <a:t>Scaler for continuous featur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53F2A13D-985C-D9D9-D787-2A003E965A1C}"/>
              </a:ext>
            </a:extLst>
          </p:cNvPr>
          <p:cNvSpPr txBox="1"/>
          <p:nvPr/>
        </p:nvSpPr>
        <p:spPr>
          <a:xfrm>
            <a:off x="457962" y="1422986"/>
            <a:ext cx="11302365" cy="335348"/>
          </a:xfrm>
          <a:prstGeom prst="rect">
            <a:avLst/>
          </a:prstGeom>
          <a:ln w="9525">
            <a:solidFill>
              <a:schemeClr val="accent1"/>
            </a:solidFill>
            <a:prstDash val="sysDot"/>
          </a:ln>
        </p:spPr>
        <p:txBody>
          <a:bodyPr vert="horz" wrap="square" lIns="0" tIns="88265" rIns="0" bIns="0" rtlCol="0">
            <a:spAutoFit/>
          </a:bodyPr>
          <a:lstStyle/>
          <a:p>
            <a:pPr marL="651510" algn="ctr">
              <a:spcBef>
                <a:spcPts val="695"/>
              </a:spcBef>
            </a:pPr>
            <a:r>
              <a:rPr lang="en-US" sz="1600" b="1" i="1">
                <a:solidFill>
                  <a:srgbClr val="1E3A74"/>
                </a:solidFill>
                <a:latin typeface="Arial"/>
                <a:cs typeface="Arial"/>
              </a:rPr>
              <a:t>Utilize Scaler for Continuous Values to Avoid Incorrect Comparisons Between Large &amp; Small Values  </a:t>
            </a:r>
            <a:endParaRPr lang="en-US" sz="1600" i="1">
              <a:solidFill>
                <a:srgbClr val="1E3A74"/>
              </a:solidFill>
              <a:latin typeface="Arial"/>
              <a:cs typeface="Arial"/>
            </a:endParaRPr>
          </a:p>
        </p:txBody>
      </p:sp>
      <p:grpSp>
        <p:nvGrpSpPr>
          <p:cNvPr id="61" name="convertedtitle__637369715831706015">
            <a:extLst>
              <a:ext uri="{FF2B5EF4-FFF2-40B4-BE49-F238E27FC236}">
                <a16:creationId xmlns:a16="http://schemas.microsoft.com/office/drawing/2014/main" id="{BE20BD87-FD0A-55B4-C3B2-18A85B0D797B}"/>
              </a:ext>
            </a:extLst>
          </p:cNvPr>
          <p:cNvGrpSpPr/>
          <p:nvPr/>
        </p:nvGrpSpPr>
        <p:grpSpPr>
          <a:xfrm>
            <a:off x="6396060" y="2217273"/>
            <a:ext cx="5468644" cy="288147"/>
            <a:chOff x="2832361" y="2160328"/>
            <a:chExt cx="3534683" cy="184982"/>
          </a:xfrm>
        </p:grpSpPr>
        <p:sp>
          <p:nvSpPr>
            <p:cNvPr id="62" name="Arrow: Left-Right 61">
              <a:extLst>
                <a:ext uri="{FF2B5EF4-FFF2-40B4-BE49-F238E27FC236}">
                  <a16:creationId xmlns:a16="http://schemas.microsoft.com/office/drawing/2014/main" id="{B1CAB074-EC48-EB0F-F55C-F13F33670B7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Continuous Feature Identification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10FA775-74FF-1F85-1AB2-E2298AA20147}"/>
                </a:ext>
              </a:extLst>
            </p:cNvPr>
            <p:cNvCxnSpPr>
              <a:stCxn id="62" idx="4"/>
              <a:endCxn id="6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convertedtitle__637369715831706015">
            <a:extLst>
              <a:ext uri="{FF2B5EF4-FFF2-40B4-BE49-F238E27FC236}">
                <a16:creationId xmlns:a16="http://schemas.microsoft.com/office/drawing/2014/main" id="{FDEFB40D-D075-787A-3B55-CF2CC665EE5C}"/>
              </a:ext>
            </a:extLst>
          </p:cNvPr>
          <p:cNvGrpSpPr/>
          <p:nvPr/>
        </p:nvGrpSpPr>
        <p:grpSpPr>
          <a:xfrm>
            <a:off x="6396060" y="4421409"/>
            <a:ext cx="5468644" cy="288147"/>
            <a:chOff x="2832361" y="2160328"/>
            <a:chExt cx="3534683" cy="184982"/>
          </a:xfrm>
        </p:grpSpPr>
        <p:sp>
          <p:nvSpPr>
            <p:cNvPr id="65" name="Arrow: Left-Right 64">
              <a:extLst>
                <a:ext uri="{FF2B5EF4-FFF2-40B4-BE49-F238E27FC236}">
                  <a16:creationId xmlns:a16="http://schemas.microsoft.com/office/drawing/2014/main" id="{1513C5E4-06C9-FD2D-127E-462BDB678A9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Scaler Fit &amp; Transform for Continuous Variables </a:t>
              </a: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7C3E8A5-ED75-153D-8041-5FEBFB5AB206}"/>
                </a:ext>
              </a:extLst>
            </p:cNvPr>
            <p:cNvCxnSpPr>
              <a:stCxn id="65" idx="4"/>
              <a:endCxn id="65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8B774B38-9FF1-2A50-1F14-5F527DD98CFB}"/>
              </a:ext>
            </a:extLst>
          </p:cNvPr>
          <p:cNvSpPr/>
          <p:nvPr/>
        </p:nvSpPr>
        <p:spPr>
          <a:xfrm>
            <a:off x="5672648" y="3495847"/>
            <a:ext cx="684491" cy="105810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 err="1">
              <a:solidFill>
                <a:schemeClr val="bg1"/>
              </a:solidFill>
            </a:endParaRPr>
          </a:p>
        </p:txBody>
      </p:sp>
      <p:sp>
        <p:nvSpPr>
          <p:cNvPr id="68" name="Rectangle 2">
            <a:extLst>
              <a:ext uri="{FF2B5EF4-FFF2-40B4-BE49-F238E27FC236}">
                <a16:creationId xmlns:a16="http://schemas.microsoft.com/office/drawing/2014/main" id="{D1715F63-6604-972B-FFEB-7F0C4D78C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6813" y="2562687"/>
            <a:ext cx="4903721" cy="28843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termine all continues columns which require conversion into a scaled feature to avoid columns being incorrectly compared against one another for large and small value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endParaRPr lang="en-US" altLang="en-US" sz="1600">
              <a:solidFill>
                <a:srgbClr val="2E2E38"/>
              </a:solidFill>
            </a:endParaRP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rain the scaler for each continuous feature within the training data and apply to both train and test data sets</a:t>
            </a:r>
          </a:p>
        </p:txBody>
      </p:sp>
      <p:grpSp>
        <p:nvGrpSpPr>
          <p:cNvPr id="69" name="convertedtitle__637369715831706015">
            <a:extLst>
              <a:ext uri="{FF2B5EF4-FFF2-40B4-BE49-F238E27FC236}">
                <a16:creationId xmlns:a16="http://schemas.microsoft.com/office/drawing/2014/main" id="{9E908856-1BFA-5F5B-1F19-FFBEFE82AE9A}"/>
              </a:ext>
            </a:extLst>
          </p:cNvPr>
          <p:cNvGrpSpPr/>
          <p:nvPr/>
        </p:nvGrpSpPr>
        <p:grpSpPr>
          <a:xfrm>
            <a:off x="726813" y="2217273"/>
            <a:ext cx="4686885" cy="288147"/>
            <a:chOff x="2832361" y="2160328"/>
            <a:chExt cx="3534683" cy="184982"/>
          </a:xfrm>
        </p:grpSpPr>
        <p:sp>
          <p:nvSpPr>
            <p:cNvPr id="70" name="Arrow: Left-Right 69">
              <a:extLst>
                <a:ext uri="{FF2B5EF4-FFF2-40B4-BE49-F238E27FC236}">
                  <a16:creationId xmlns:a16="http://schemas.microsoft.com/office/drawing/2014/main" id="{5F13EF89-0171-AE00-C835-2B5938E73C6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scrip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3403248-E68E-2525-64CD-63A0D229EA40}"/>
                </a:ext>
              </a:extLst>
            </p:cNvPr>
            <p:cNvCxnSpPr>
              <a:stCxn id="70" idx="4"/>
              <a:endCxn id="70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9E5F488-16CF-BA8F-AD54-52556EA53B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6163" y="2628334"/>
            <a:ext cx="5508541" cy="28428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EE40E67-E113-BAC9-7953-98B47B267C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6163" y="4767715"/>
            <a:ext cx="5612907" cy="1134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3716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F9F8A0-4560-D27D-D202-82FBABE87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F9F8A0-4560-D27D-D202-82FBABE87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42848"/>
            <a:ext cx="11254520" cy="575108"/>
          </a:xfrm>
        </p:spPr>
        <p:txBody>
          <a:bodyPr vert="horz"/>
          <a:lstStyle/>
          <a:p>
            <a:r>
              <a:rPr lang="en-US"/>
              <a:t>Prepare x/y features in PC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53F2A13D-985C-D9D9-D787-2A003E965A1C}"/>
              </a:ext>
            </a:extLst>
          </p:cNvPr>
          <p:cNvSpPr txBox="1"/>
          <p:nvPr/>
        </p:nvSpPr>
        <p:spPr>
          <a:xfrm>
            <a:off x="457962" y="1422986"/>
            <a:ext cx="11302365" cy="335348"/>
          </a:xfrm>
          <a:prstGeom prst="rect">
            <a:avLst/>
          </a:prstGeom>
          <a:ln w="9525">
            <a:solidFill>
              <a:schemeClr val="accent1"/>
            </a:solidFill>
            <a:prstDash val="sysDot"/>
          </a:ln>
        </p:spPr>
        <p:txBody>
          <a:bodyPr vert="horz" wrap="square" lIns="0" tIns="88265" rIns="0" bIns="0" rtlCol="0">
            <a:spAutoFit/>
          </a:bodyPr>
          <a:lstStyle/>
          <a:p>
            <a:pPr marL="651510" algn="ctr">
              <a:spcBef>
                <a:spcPts val="695"/>
              </a:spcBef>
            </a:pPr>
            <a:r>
              <a:rPr lang="en-US" sz="1600" b="1" i="1">
                <a:solidFill>
                  <a:srgbClr val="1E3A74"/>
                </a:solidFill>
                <a:latin typeface="Arial"/>
                <a:cs typeface="Arial"/>
              </a:rPr>
              <a:t>Fit &amp; Transform PCA in Train Data</a:t>
            </a:r>
            <a:endParaRPr lang="en-US" sz="1600" i="1">
              <a:solidFill>
                <a:srgbClr val="1E3A74"/>
              </a:solidFill>
              <a:latin typeface="Arial"/>
              <a:cs typeface="Arial"/>
            </a:endParaRPr>
          </a:p>
        </p:txBody>
      </p:sp>
      <p:grpSp>
        <p:nvGrpSpPr>
          <p:cNvPr id="61" name="convertedtitle__637369715831706015">
            <a:extLst>
              <a:ext uri="{FF2B5EF4-FFF2-40B4-BE49-F238E27FC236}">
                <a16:creationId xmlns:a16="http://schemas.microsoft.com/office/drawing/2014/main" id="{BE20BD87-FD0A-55B4-C3B2-18A85B0D797B}"/>
              </a:ext>
            </a:extLst>
          </p:cNvPr>
          <p:cNvGrpSpPr/>
          <p:nvPr/>
        </p:nvGrpSpPr>
        <p:grpSpPr>
          <a:xfrm>
            <a:off x="6351456" y="2217273"/>
            <a:ext cx="5468644" cy="288147"/>
            <a:chOff x="2832361" y="2160328"/>
            <a:chExt cx="3534683" cy="184982"/>
          </a:xfrm>
        </p:grpSpPr>
        <p:sp>
          <p:nvSpPr>
            <p:cNvPr id="62" name="Arrow: Left-Right 61">
              <a:extLst>
                <a:ext uri="{FF2B5EF4-FFF2-40B4-BE49-F238E27FC236}">
                  <a16:creationId xmlns:a16="http://schemas.microsoft.com/office/drawing/2014/main" id="{B1CAB074-EC48-EB0F-F55C-F13F33670B7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Fit PCA On Continuous Features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10FA775-74FF-1F85-1AB2-E2298AA20147}"/>
                </a:ext>
              </a:extLst>
            </p:cNvPr>
            <p:cNvCxnSpPr>
              <a:stCxn id="62" idx="4"/>
              <a:endCxn id="6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convertedtitle__637369715831706015">
            <a:extLst>
              <a:ext uri="{FF2B5EF4-FFF2-40B4-BE49-F238E27FC236}">
                <a16:creationId xmlns:a16="http://schemas.microsoft.com/office/drawing/2014/main" id="{FDEFB40D-D075-787A-3B55-CF2CC665EE5C}"/>
              </a:ext>
            </a:extLst>
          </p:cNvPr>
          <p:cNvGrpSpPr/>
          <p:nvPr/>
        </p:nvGrpSpPr>
        <p:grpSpPr>
          <a:xfrm>
            <a:off x="6351456" y="4767096"/>
            <a:ext cx="5468644" cy="288147"/>
            <a:chOff x="2832361" y="2160328"/>
            <a:chExt cx="3534683" cy="184982"/>
          </a:xfrm>
        </p:grpSpPr>
        <p:sp>
          <p:nvSpPr>
            <p:cNvPr id="65" name="Arrow: Left-Right 64">
              <a:extLst>
                <a:ext uri="{FF2B5EF4-FFF2-40B4-BE49-F238E27FC236}">
                  <a16:creationId xmlns:a16="http://schemas.microsoft.com/office/drawing/2014/main" id="{1513C5E4-06C9-FD2D-127E-462BDB678A9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fine X and Y Features For Tree</a:t>
              </a: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7C3E8A5-ED75-153D-8041-5FEBFB5AB206}"/>
                </a:ext>
              </a:extLst>
            </p:cNvPr>
            <p:cNvCxnSpPr>
              <a:stCxn id="65" idx="4"/>
              <a:endCxn id="65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8B774B38-9FF1-2A50-1F14-5F527DD98CFB}"/>
              </a:ext>
            </a:extLst>
          </p:cNvPr>
          <p:cNvSpPr/>
          <p:nvPr/>
        </p:nvSpPr>
        <p:spPr>
          <a:xfrm>
            <a:off x="5494232" y="3495847"/>
            <a:ext cx="684491" cy="105810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 err="1">
              <a:solidFill>
                <a:schemeClr val="bg1"/>
              </a:solidFill>
            </a:endParaRPr>
          </a:p>
        </p:txBody>
      </p:sp>
      <p:sp>
        <p:nvSpPr>
          <p:cNvPr id="68" name="Rectangle 2">
            <a:extLst>
              <a:ext uri="{FF2B5EF4-FFF2-40B4-BE49-F238E27FC236}">
                <a16:creationId xmlns:a16="http://schemas.microsoft.com/office/drawing/2014/main" id="{D1715F63-6604-972B-FFEB-7F0C4D78C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303" y="2562687"/>
            <a:ext cx="4903721" cy="17025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termine 5 components to use in PCA and fit PCA on continuous features (column 1:22) and transform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Prepare final train data frame via concatenating PCA with sales price (column 0) and categorical features(column 23:) </a:t>
            </a:r>
          </a:p>
        </p:txBody>
      </p:sp>
      <p:grpSp>
        <p:nvGrpSpPr>
          <p:cNvPr id="69" name="convertedtitle__637369715831706015">
            <a:extLst>
              <a:ext uri="{FF2B5EF4-FFF2-40B4-BE49-F238E27FC236}">
                <a16:creationId xmlns:a16="http://schemas.microsoft.com/office/drawing/2014/main" id="{9E908856-1BFA-5F5B-1F19-FFBEFE82AE9A}"/>
              </a:ext>
            </a:extLst>
          </p:cNvPr>
          <p:cNvGrpSpPr/>
          <p:nvPr/>
        </p:nvGrpSpPr>
        <p:grpSpPr>
          <a:xfrm>
            <a:off x="615303" y="2217273"/>
            <a:ext cx="4686885" cy="288147"/>
            <a:chOff x="2832361" y="2160328"/>
            <a:chExt cx="3534683" cy="184982"/>
          </a:xfrm>
        </p:grpSpPr>
        <p:sp>
          <p:nvSpPr>
            <p:cNvPr id="70" name="Arrow: Left-Right 69">
              <a:extLst>
                <a:ext uri="{FF2B5EF4-FFF2-40B4-BE49-F238E27FC236}">
                  <a16:creationId xmlns:a16="http://schemas.microsoft.com/office/drawing/2014/main" id="{5F13EF89-0171-AE00-C835-2B5938E73C6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scrip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3403248-E68E-2525-64CD-63A0D229EA40}"/>
                </a:ext>
              </a:extLst>
            </p:cNvPr>
            <p:cNvCxnSpPr>
              <a:stCxn id="70" idx="4"/>
              <a:endCxn id="70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8B57060D-B542-EDF6-150E-2A4C304A6F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6842" y="2626364"/>
            <a:ext cx="3159712" cy="3614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DB67F83-7157-67C1-367C-347D116A1A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6842" y="3007153"/>
            <a:ext cx="5787378" cy="3321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1EC222-12B5-FE07-BBE6-9745529ACF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9757" y="3399825"/>
            <a:ext cx="5688985" cy="4349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8295DEC-4EB0-C546-E91A-A4C044F828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4550" y="3940025"/>
            <a:ext cx="5688985" cy="505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227EDA8-8B97-8C7F-9EFD-8C31107157D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76982" y="5221518"/>
            <a:ext cx="5383345" cy="311592"/>
          </a:xfrm>
          <a:prstGeom prst="rect">
            <a:avLst/>
          </a:prstGeo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3230870E-67B1-7214-FB05-A22A26BC6B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511" y="5055243"/>
            <a:ext cx="4903721" cy="5206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fine sales price as dependent variable and other features as independent variables for tree models.</a:t>
            </a:r>
          </a:p>
        </p:txBody>
      </p:sp>
    </p:spTree>
    <p:extLst>
      <p:ext uri="{BB962C8B-B14F-4D97-AF65-F5344CB8AC3E}">
        <p14:creationId xmlns:p14="http://schemas.microsoft.com/office/powerpoint/2010/main" val="29304887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6D8B19-150D-85B9-6978-9FBB8D05C2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643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F6D8B19-150D-85B9-6978-9FBB8D05C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3A2520F-0EFE-6E02-113D-7A976243E4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0 | introdu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9F1C62-F597-28E3-1B46-DD856E4B8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able of contents</a:t>
            </a:r>
          </a:p>
        </p:txBody>
      </p:sp>
      <p:pic>
        <p:nvPicPr>
          <p:cNvPr id="17" name="Picture 17" descr="Chart&#10;&#10;Description automatically generated">
            <a:extLst>
              <a:ext uri="{FF2B5EF4-FFF2-40B4-BE49-F238E27FC236}">
                <a16:creationId xmlns:a16="http://schemas.microsoft.com/office/drawing/2014/main" id="{3A31698C-1EBD-C85D-837D-91A73BE0D9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53733" y="1426371"/>
            <a:ext cx="7363580" cy="49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3636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F9F8A0-4560-D27D-D202-82FBABE87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F9F8A0-4560-D27D-D202-82FBABE87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42848"/>
            <a:ext cx="11254520" cy="575108"/>
          </a:xfrm>
        </p:spPr>
        <p:txBody>
          <a:bodyPr vert="horz"/>
          <a:lstStyle/>
          <a:p>
            <a:r>
              <a:rPr lang="en-US"/>
              <a:t>Prepare x/y features in PC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53F2A13D-985C-D9D9-D787-2A003E965A1C}"/>
              </a:ext>
            </a:extLst>
          </p:cNvPr>
          <p:cNvSpPr txBox="1"/>
          <p:nvPr/>
        </p:nvSpPr>
        <p:spPr>
          <a:xfrm>
            <a:off x="457962" y="1422986"/>
            <a:ext cx="11302365" cy="335348"/>
          </a:xfrm>
          <a:prstGeom prst="rect">
            <a:avLst/>
          </a:prstGeom>
          <a:ln w="9525">
            <a:solidFill>
              <a:schemeClr val="accent1"/>
            </a:solidFill>
            <a:prstDash val="sysDot"/>
          </a:ln>
        </p:spPr>
        <p:txBody>
          <a:bodyPr vert="horz" wrap="square" lIns="0" tIns="88265" rIns="0" bIns="0" rtlCol="0">
            <a:spAutoFit/>
          </a:bodyPr>
          <a:lstStyle/>
          <a:p>
            <a:pPr marL="651510" algn="ctr">
              <a:spcBef>
                <a:spcPts val="695"/>
              </a:spcBef>
            </a:pPr>
            <a:r>
              <a:rPr lang="en-US" sz="1600" b="1" i="1">
                <a:solidFill>
                  <a:srgbClr val="1E3A74"/>
                </a:solidFill>
                <a:latin typeface="Arial"/>
                <a:cs typeface="Arial"/>
              </a:rPr>
              <a:t>Fit &amp; Transform PCA in Validation Data</a:t>
            </a:r>
            <a:endParaRPr lang="en-US" sz="1600" i="1">
              <a:solidFill>
                <a:srgbClr val="1E3A74"/>
              </a:solidFill>
              <a:latin typeface="Arial"/>
              <a:cs typeface="Arial"/>
            </a:endParaRPr>
          </a:p>
        </p:txBody>
      </p:sp>
      <p:grpSp>
        <p:nvGrpSpPr>
          <p:cNvPr id="61" name="convertedtitle__637369715831706015">
            <a:extLst>
              <a:ext uri="{FF2B5EF4-FFF2-40B4-BE49-F238E27FC236}">
                <a16:creationId xmlns:a16="http://schemas.microsoft.com/office/drawing/2014/main" id="{BE20BD87-FD0A-55B4-C3B2-18A85B0D797B}"/>
              </a:ext>
            </a:extLst>
          </p:cNvPr>
          <p:cNvGrpSpPr/>
          <p:nvPr/>
        </p:nvGrpSpPr>
        <p:grpSpPr>
          <a:xfrm>
            <a:off x="6351456" y="2217273"/>
            <a:ext cx="5468644" cy="288147"/>
            <a:chOff x="2832361" y="2160328"/>
            <a:chExt cx="3534683" cy="184982"/>
          </a:xfrm>
        </p:grpSpPr>
        <p:sp>
          <p:nvSpPr>
            <p:cNvPr id="62" name="Arrow: Left-Right 61">
              <a:extLst>
                <a:ext uri="{FF2B5EF4-FFF2-40B4-BE49-F238E27FC236}">
                  <a16:creationId xmlns:a16="http://schemas.microsoft.com/office/drawing/2014/main" id="{B1CAB074-EC48-EB0F-F55C-F13F33670B7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Fit PCA On Continuous Features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10FA775-74FF-1F85-1AB2-E2298AA20147}"/>
                </a:ext>
              </a:extLst>
            </p:cNvPr>
            <p:cNvCxnSpPr>
              <a:stCxn id="62" idx="4"/>
              <a:endCxn id="6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convertedtitle__637369715831706015">
            <a:extLst>
              <a:ext uri="{FF2B5EF4-FFF2-40B4-BE49-F238E27FC236}">
                <a16:creationId xmlns:a16="http://schemas.microsoft.com/office/drawing/2014/main" id="{FDEFB40D-D075-787A-3B55-CF2CC665EE5C}"/>
              </a:ext>
            </a:extLst>
          </p:cNvPr>
          <p:cNvGrpSpPr/>
          <p:nvPr/>
        </p:nvGrpSpPr>
        <p:grpSpPr>
          <a:xfrm>
            <a:off x="6351456" y="4767096"/>
            <a:ext cx="5468644" cy="288147"/>
            <a:chOff x="2832361" y="2160328"/>
            <a:chExt cx="3534683" cy="184982"/>
          </a:xfrm>
        </p:grpSpPr>
        <p:sp>
          <p:nvSpPr>
            <p:cNvPr id="65" name="Arrow: Left-Right 64">
              <a:extLst>
                <a:ext uri="{FF2B5EF4-FFF2-40B4-BE49-F238E27FC236}">
                  <a16:creationId xmlns:a16="http://schemas.microsoft.com/office/drawing/2014/main" id="{1513C5E4-06C9-FD2D-127E-462BDB678A9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fine X and Y Features in Validation For Test</a:t>
              </a: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7C3E8A5-ED75-153D-8041-5FEBFB5AB206}"/>
                </a:ext>
              </a:extLst>
            </p:cNvPr>
            <p:cNvCxnSpPr>
              <a:stCxn id="65" idx="4"/>
              <a:endCxn id="65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8B774B38-9FF1-2A50-1F14-5F527DD98CFB}"/>
              </a:ext>
            </a:extLst>
          </p:cNvPr>
          <p:cNvSpPr/>
          <p:nvPr/>
        </p:nvSpPr>
        <p:spPr>
          <a:xfrm>
            <a:off x="5494232" y="3495847"/>
            <a:ext cx="684491" cy="105810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 err="1">
              <a:solidFill>
                <a:schemeClr val="bg1"/>
              </a:solidFill>
            </a:endParaRPr>
          </a:p>
        </p:txBody>
      </p:sp>
      <p:sp>
        <p:nvSpPr>
          <p:cNvPr id="68" name="Rectangle 2">
            <a:extLst>
              <a:ext uri="{FF2B5EF4-FFF2-40B4-BE49-F238E27FC236}">
                <a16:creationId xmlns:a16="http://schemas.microsoft.com/office/drawing/2014/main" id="{D1715F63-6604-972B-FFEB-7F0C4D78C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303" y="2562687"/>
            <a:ext cx="4903721" cy="17025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Fit PCA on continuous features (column 1:22) and transform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Prepare final validation data frame via concatenating PCA with sales price (column 0) and categorical features(column 23:) </a:t>
            </a:r>
          </a:p>
        </p:txBody>
      </p:sp>
      <p:grpSp>
        <p:nvGrpSpPr>
          <p:cNvPr id="69" name="convertedtitle__637369715831706015">
            <a:extLst>
              <a:ext uri="{FF2B5EF4-FFF2-40B4-BE49-F238E27FC236}">
                <a16:creationId xmlns:a16="http://schemas.microsoft.com/office/drawing/2014/main" id="{9E908856-1BFA-5F5B-1F19-FFBEFE82AE9A}"/>
              </a:ext>
            </a:extLst>
          </p:cNvPr>
          <p:cNvGrpSpPr/>
          <p:nvPr/>
        </p:nvGrpSpPr>
        <p:grpSpPr>
          <a:xfrm>
            <a:off x="615303" y="2217273"/>
            <a:ext cx="4686885" cy="288147"/>
            <a:chOff x="2832361" y="2160328"/>
            <a:chExt cx="3534683" cy="184982"/>
          </a:xfrm>
        </p:grpSpPr>
        <p:sp>
          <p:nvSpPr>
            <p:cNvPr id="70" name="Arrow: Left-Right 69">
              <a:extLst>
                <a:ext uri="{FF2B5EF4-FFF2-40B4-BE49-F238E27FC236}">
                  <a16:creationId xmlns:a16="http://schemas.microsoft.com/office/drawing/2014/main" id="{5F13EF89-0171-AE00-C835-2B5938E73C6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scrip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3403248-E68E-2525-64CD-63A0D229EA40}"/>
                </a:ext>
              </a:extLst>
            </p:cNvPr>
            <p:cNvCxnSpPr>
              <a:stCxn id="70" idx="4"/>
              <a:endCxn id="70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2">
            <a:extLst>
              <a:ext uri="{FF2B5EF4-FFF2-40B4-BE49-F238E27FC236}">
                <a16:creationId xmlns:a16="http://schemas.microsoft.com/office/drawing/2014/main" id="{480022F3-ABB5-4FBC-8D57-CA68D669CA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303" y="5040525"/>
            <a:ext cx="4903721" cy="5206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fine sales price as dependent variable and other features as independent variables in Validatio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0F91C3-DE70-4873-71E1-D7DA04C457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1455" y="2665543"/>
            <a:ext cx="4582199" cy="23926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392B795-8279-6EC9-7F98-5AC688319A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1455" y="3012728"/>
            <a:ext cx="5840545" cy="1581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7CAE04B-10BB-8299-2087-0F5009D0D4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0691" y="3250832"/>
            <a:ext cx="5688985" cy="41302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D7DF0DF-AD97-ED1C-8BEE-ED06F1AD7F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0691" y="3687079"/>
            <a:ext cx="5688985" cy="5533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2851D59-C654-9AD4-6637-BD14E2575D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66766" y="5300853"/>
            <a:ext cx="5468644" cy="262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1232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F9F8A0-4560-D27D-D202-82FBABE87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F9F8A0-4560-D27D-D202-82FBABE87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42848"/>
            <a:ext cx="11254520" cy="575108"/>
          </a:xfrm>
        </p:spPr>
        <p:txBody>
          <a:bodyPr vert="horz"/>
          <a:lstStyle/>
          <a:p>
            <a:r>
              <a:rPr lang="en-US"/>
              <a:t>Prepare x/y features W/O PC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F08BB-CC62-6E94-9EC2-A5B57DA2E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3 | data preparation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53F2A13D-985C-D9D9-D787-2A003E965A1C}"/>
              </a:ext>
            </a:extLst>
          </p:cNvPr>
          <p:cNvSpPr txBox="1"/>
          <p:nvPr/>
        </p:nvSpPr>
        <p:spPr>
          <a:xfrm>
            <a:off x="457962" y="1422986"/>
            <a:ext cx="11302365" cy="335348"/>
          </a:xfrm>
          <a:prstGeom prst="rect">
            <a:avLst/>
          </a:prstGeom>
          <a:ln w="9525">
            <a:solidFill>
              <a:schemeClr val="accent1"/>
            </a:solidFill>
            <a:prstDash val="sysDot"/>
          </a:ln>
        </p:spPr>
        <p:txBody>
          <a:bodyPr vert="horz" wrap="square" lIns="0" tIns="88265" rIns="0" bIns="0" rtlCol="0">
            <a:spAutoFit/>
          </a:bodyPr>
          <a:lstStyle/>
          <a:p>
            <a:pPr marL="651510" algn="ctr">
              <a:spcBef>
                <a:spcPts val="695"/>
              </a:spcBef>
            </a:pPr>
            <a:r>
              <a:rPr lang="en-US" sz="1600" b="1" i="1">
                <a:solidFill>
                  <a:srgbClr val="1E3A74"/>
                </a:solidFill>
                <a:latin typeface="Arial"/>
                <a:cs typeface="Arial"/>
              </a:rPr>
              <a:t>Fit &amp; Transform PCA in Validation Data</a:t>
            </a:r>
            <a:endParaRPr lang="en-US" sz="1600" i="1">
              <a:solidFill>
                <a:srgbClr val="1E3A74"/>
              </a:solidFill>
              <a:latin typeface="Arial"/>
              <a:cs typeface="Arial"/>
            </a:endParaRPr>
          </a:p>
        </p:txBody>
      </p:sp>
      <p:grpSp>
        <p:nvGrpSpPr>
          <p:cNvPr id="61" name="convertedtitle__637369715831706015">
            <a:extLst>
              <a:ext uri="{FF2B5EF4-FFF2-40B4-BE49-F238E27FC236}">
                <a16:creationId xmlns:a16="http://schemas.microsoft.com/office/drawing/2014/main" id="{BE20BD87-FD0A-55B4-C3B2-18A85B0D797B}"/>
              </a:ext>
            </a:extLst>
          </p:cNvPr>
          <p:cNvGrpSpPr/>
          <p:nvPr/>
        </p:nvGrpSpPr>
        <p:grpSpPr>
          <a:xfrm>
            <a:off x="6351456" y="2217273"/>
            <a:ext cx="5468644" cy="288147"/>
            <a:chOff x="2832361" y="2160328"/>
            <a:chExt cx="3534683" cy="184982"/>
          </a:xfrm>
        </p:grpSpPr>
        <p:sp>
          <p:nvSpPr>
            <p:cNvPr id="62" name="Arrow: Left-Right 61">
              <a:extLst>
                <a:ext uri="{FF2B5EF4-FFF2-40B4-BE49-F238E27FC236}">
                  <a16:creationId xmlns:a16="http://schemas.microsoft.com/office/drawing/2014/main" id="{B1CAB074-EC48-EB0F-F55C-F13F33670B7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fine formula with independent and dependent variables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10FA775-74FF-1F85-1AB2-E2298AA20147}"/>
                </a:ext>
              </a:extLst>
            </p:cNvPr>
            <p:cNvCxnSpPr>
              <a:stCxn id="62" idx="4"/>
              <a:endCxn id="6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convertedtitle__637369715831706015">
            <a:extLst>
              <a:ext uri="{FF2B5EF4-FFF2-40B4-BE49-F238E27FC236}">
                <a16:creationId xmlns:a16="http://schemas.microsoft.com/office/drawing/2014/main" id="{FDEFB40D-D075-787A-3B55-CF2CC665EE5C}"/>
              </a:ext>
            </a:extLst>
          </p:cNvPr>
          <p:cNvGrpSpPr/>
          <p:nvPr/>
        </p:nvGrpSpPr>
        <p:grpSpPr>
          <a:xfrm>
            <a:off x="6351456" y="4767096"/>
            <a:ext cx="5468644" cy="288147"/>
            <a:chOff x="2832361" y="2160328"/>
            <a:chExt cx="3534683" cy="184982"/>
          </a:xfrm>
        </p:grpSpPr>
        <p:sp>
          <p:nvSpPr>
            <p:cNvPr id="65" name="Arrow: Left-Right 64">
              <a:extLst>
                <a:ext uri="{FF2B5EF4-FFF2-40B4-BE49-F238E27FC236}">
                  <a16:creationId xmlns:a16="http://schemas.microsoft.com/office/drawing/2014/main" id="{1513C5E4-06C9-FD2D-127E-462BDB678A99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Cleaning special characters in column names</a:t>
              </a: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7C3E8A5-ED75-153D-8041-5FEBFB5AB206}"/>
                </a:ext>
              </a:extLst>
            </p:cNvPr>
            <p:cNvCxnSpPr>
              <a:stCxn id="65" idx="4"/>
              <a:endCxn id="65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8B774B38-9FF1-2A50-1F14-5F527DD98CFB}"/>
              </a:ext>
            </a:extLst>
          </p:cNvPr>
          <p:cNvSpPr/>
          <p:nvPr/>
        </p:nvSpPr>
        <p:spPr>
          <a:xfrm>
            <a:off x="5494232" y="3495847"/>
            <a:ext cx="684491" cy="105810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 err="1">
              <a:solidFill>
                <a:schemeClr val="bg1"/>
              </a:solidFill>
            </a:endParaRPr>
          </a:p>
        </p:txBody>
      </p:sp>
      <p:sp>
        <p:nvSpPr>
          <p:cNvPr id="68" name="Rectangle 2">
            <a:extLst>
              <a:ext uri="{FF2B5EF4-FFF2-40B4-BE49-F238E27FC236}">
                <a16:creationId xmlns:a16="http://schemas.microsoft.com/office/drawing/2014/main" id="{D1715F63-6604-972B-FFEB-7F0C4D78C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075" y="2562687"/>
            <a:ext cx="4903721" cy="17025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fine sale price as Y and other features as X in train data and validation data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Define formula with sales price as dependent and other features as independent variables, removing intercept</a:t>
            </a:r>
          </a:p>
        </p:txBody>
      </p:sp>
      <p:grpSp>
        <p:nvGrpSpPr>
          <p:cNvPr id="69" name="convertedtitle__637369715831706015">
            <a:extLst>
              <a:ext uri="{FF2B5EF4-FFF2-40B4-BE49-F238E27FC236}">
                <a16:creationId xmlns:a16="http://schemas.microsoft.com/office/drawing/2014/main" id="{9E908856-1BFA-5F5B-1F19-FFBEFE82AE9A}"/>
              </a:ext>
            </a:extLst>
          </p:cNvPr>
          <p:cNvGrpSpPr/>
          <p:nvPr/>
        </p:nvGrpSpPr>
        <p:grpSpPr>
          <a:xfrm>
            <a:off x="615303" y="2217273"/>
            <a:ext cx="4686885" cy="288147"/>
            <a:chOff x="2832361" y="2160328"/>
            <a:chExt cx="3534683" cy="184982"/>
          </a:xfrm>
        </p:grpSpPr>
        <p:sp>
          <p:nvSpPr>
            <p:cNvPr id="70" name="Arrow: Left-Right 69">
              <a:extLst>
                <a:ext uri="{FF2B5EF4-FFF2-40B4-BE49-F238E27FC236}">
                  <a16:creationId xmlns:a16="http://schemas.microsoft.com/office/drawing/2014/main" id="{5F13EF89-0171-AE00-C835-2B5938E73C6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altLang="en-US" sz="1400" b="1">
                  <a:solidFill>
                    <a:srgbClr val="1E3A74"/>
                  </a:solidFill>
                </a:rPr>
                <a:t>Descrip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3403248-E68E-2525-64CD-63A0D229EA40}"/>
                </a:ext>
              </a:extLst>
            </p:cNvPr>
            <p:cNvCxnSpPr>
              <a:stCxn id="70" idx="4"/>
              <a:endCxn id="70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2">
            <a:extLst>
              <a:ext uri="{FF2B5EF4-FFF2-40B4-BE49-F238E27FC236}">
                <a16:creationId xmlns:a16="http://schemas.microsoft.com/office/drawing/2014/main" id="{480022F3-ABB5-4FBC-8D57-CA68D669CA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075" y="5081995"/>
            <a:ext cx="4903721" cy="11608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Replace leading Q and special characters in column name</a:t>
            </a:r>
          </a:p>
          <a:p>
            <a:pPr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</a:pPr>
            <a:endParaRPr lang="en-US" altLang="en-US" sz="1600">
              <a:solidFill>
                <a:srgbClr val="2E2E38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87A430-9F28-3E3F-2735-A528784C4C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1456" y="2603256"/>
            <a:ext cx="4903721" cy="10203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A424074-4580-38F1-15A2-AF723D73A8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1456" y="3922927"/>
            <a:ext cx="5731687" cy="2503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6CF41E-121A-705B-17F3-644EEC0534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1456" y="5125633"/>
            <a:ext cx="3666745" cy="21775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F8A34E5-7E97-5772-69C8-484FCE4D5D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51456" y="5435014"/>
            <a:ext cx="5468644" cy="25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611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99E8A8-035F-704F-62E6-F58784A3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odel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77EF1-9F1F-32CC-5ABC-EDAE8F4C6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068577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6679EC2-F264-CEF1-08BA-46F0B71FC7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83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5" imgW="501" imgH="501" progId="TCLayout.ActiveDocument.1">
                  <p:embed/>
                </p:oleObj>
              </mc:Choice>
              <mc:Fallback>
                <p:oleObj name="think-cell Slide" r:id="rId5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6679EC2-F264-CEF1-08BA-46F0B71FC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3F40E6B-6361-4E09-5CA5-450D67A30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cs typeface="Arial"/>
              </a:rPr>
              <a:t>Modeling approach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0E9A08-00DA-0C99-C4AE-C76F9868EE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4 | modeling</a:t>
            </a:r>
          </a:p>
        </p:txBody>
      </p:sp>
      <p:sp>
        <p:nvSpPr>
          <p:cNvPr id="8" name="Rectangle: Rounded Corners 17">
            <a:extLst>
              <a:ext uri="{FF2B5EF4-FFF2-40B4-BE49-F238E27FC236}">
                <a16:creationId xmlns:a16="http://schemas.microsoft.com/office/drawing/2014/main" id="{1D7E4FA3-78C3-615E-AB58-51F78C9F77F7}"/>
              </a:ext>
            </a:extLst>
          </p:cNvPr>
          <p:cNvSpPr/>
          <p:nvPr/>
        </p:nvSpPr>
        <p:spPr>
          <a:xfrm>
            <a:off x="609284" y="3407577"/>
            <a:ext cx="2590776" cy="1872307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0" tIns="0" rIns="0" bIns="0" rtlCol="0" anchor="t">
            <a:spAutoFit/>
          </a:bodyPr>
          <a:lstStyle/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Performed cross-validation utilizing a 75/25 train/ test split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Training data separated into smaller train and validate for purposes of training individual models</a:t>
            </a:r>
          </a:p>
        </p:txBody>
      </p:sp>
      <p:sp>
        <p:nvSpPr>
          <p:cNvPr id="9" name="Rectangle: Rounded Corners 24">
            <a:extLst>
              <a:ext uri="{FF2B5EF4-FFF2-40B4-BE49-F238E27FC236}">
                <a16:creationId xmlns:a16="http://schemas.microsoft.com/office/drawing/2014/main" id="{2056EAAB-CEE8-D514-7ADB-9F300E68C040}"/>
              </a:ext>
            </a:extLst>
          </p:cNvPr>
          <p:cNvSpPr/>
          <p:nvPr/>
        </p:nvSpPr>
        <p:spPr>
          <a:xfrm>
            <a:off x="3402339" y="3407577"/>
            <a:ext cx="2590776" cy="2857192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0" tIns="0" rIns="0" bIns="0" rtlCol="0" anchor="t">
            <a:spAutoFit/>
          </a:bodyPr>
          <a:lstStyle/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Individual model performance  based on five model types:</a:t>
            </a:r>
          </a:p>
          <a:p>
            <a:pPr marL="742950" lvl="1" indent="-285750" defTabSz="990576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Random forest</a:t>
            </a:r>
          </a:p>
          <a:p>
            <a:pPr marL="742950" lvl="1" indent="-285750" defTabSz="990576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Decision tree</a:t>
            </a:r>
          </a:p>
          <a:p>
            <a:pPr marL="742950" lvl="1" indent="-285750" defTabSz="990576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Neural network</a:t>
            </a:r>
          </a:p>
          <a:p>
            <a:pPr marL="742950" lvl="1" indent="-285750" defTabSz="990576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600" kern="0" err="1">
                <a:solidFill>
                  <a:srgbClr val="2E2E38"/>
                </a:solidFill>
                <a:latin typeface="Arial"/>
              </a:rPr>
              <a:t>XGBoost</a:t>
            </a:r>
            <a:endParaRPr lang="en-US" sz="1600" kern="0">
              <a:solidFill>
                <a:srgbClr val="2E2E38"/>
              </a:solidFill>
              <a:latin typeface="Arial"/>
            </a:endParaRPr>
          </a:p>
          <a:p>
            <a:pPr marL="742950" lvl="1" indent="-285750" defTabSz="990576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Light GBM</a:t>
            </a:r>
          </a:p>
          <a:p>
            <a:pPr marL="180975" lvl="1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Feature importance per model assessed to determine optimal features</a:t>
            </a:r>
          </a:p>
        </p:txBody>
      </p:sp>
      <p:sp>
        <p:nvSpPr>
          <p:cNvPr id="10" name="Rectangle: Rounded Corners 31">
            <a:extLst>
              <a:ext uri="{FF2B5EF4-FFF2-40B4-BE49-F238E27FC236}">
                <a16:creationId xmlns:a16="http://schemas.microsoft.com/office/drawing/2014/main" id="{E8D61300-D7FB-38C3-0607-5F979B42B7DF}"/>
              </a:ext>
            </a:extLst>
          </p:cNvPr>
          <p:cNvSpPr/>
          <p:nvPr/>
        </p:nvSpPr>
        <p:spPr>
          <a:xfrm>
            <a:off x="6195394" y="3407577"/>
            <a:ext cx="2590776" cy="162608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0" tIns="0" rIns="0" bIns="0" rtlCol="0" anchor="t">
            <a:spAutoFit/>
          </a:bodyPr>
          <a:lstStyle/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Optimal models weighted based on linear regression 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</a:rPr>
              <a:t>Weights utilized to determine final ensemble model for Kaggle competition</a:t>
            </a:r>
          </a:p>
        </p:txBody>
      </p:sp>
      <p:sp>
        <p:nvSpPr>
          <p:cNvPr id="11" name="Rectangle: Rounded Corners 38">
            <a:extLst>
              <a:ext uri="{FF2B5EF4-FFF2-40B4-BE49-F238E27FC236}">
                <a16:creationId xmlns:a16="http://schemas.microsoft.com/office/drawing/2014/main" id="{2FED0D74-6C74-C7AE-ED29-A6F6AB56491C}"/>
              </a:ext>
            </a:extLst>
          </p:cNvPr>
          <p:cNvSpPr/>
          <p:nvPr/>
        </p:nvSpPr>
        <p:spPr>
          <a:xfrm>
            <a:off x="8988449" y="3407577"/>
            <a:ext cx="2590776" cy="2857192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0" tIns="0" rIns="0" bIns="0" rtlCol="0" anchor="t">
            <a:spAutoFit/>
          </a:bodyPr>
          <a:lstStyle/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>
                <a:cs typeface="Arial"/>
              </a:rPr>
              <a:t>Mean Squared Log Error</a:t>
            </a:r>
            <a:r>
              <a:rPr lang="en-US" sz="1600" kern="0">
                <a:solidFill>
                  <a:srgbClr val="2E2E38"/>
                </a:solidFill>
                <a:latin typeface="Arial"/>
                <a:cs typeface="Arial"/>
              </a:rPr>
              <a:t> utilized as primary evaluation metric for Kaggle competition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sz="1600" kern="0">
                <a:solidFill>
                  <a:srgbClr val="2E2E38"/>
                </a:solidFill>
                <a:latin typeface="Arial"/>
                <a:cs typeface="Arial"/>
              </a:rPr>
              <a:t>R^2, mean absolute error (MAE) and root mean squared error (RMSE) additionally included for enhanced evaluation to assess whether model overfit</a:t>
            </a:r>
            <a:endParaRPr lang="en-US" sz="1600">
              <a:cs typeface="Arial"/>
            </a:endParaRPr>
          </a:p>
        </p:txBody>
      </p:sp>
      <p:grpSp>
        <p:nvGrpSpPr>
          <p:cNvPr id="12" name="convertedtitle__637377678910413821">
            <a:extLst>
              <a:ext uri="{FF2B5EF4-FFF2-40B4-BE49-F238E27FC236}">
                <a16:creationId xmlns:a16="http://schemas.microsoft.com/office/drawing/2014/main" id="{CFAF1B55-CA2D-B1F0-6456-EB253C0672DE}"/>
              </a:ext>
            </a:extLst>
          </p:cNvPr>
          <p:cNvGrpSpPr/>
          <p:nvPr/>
        </p:nvGrpSpPr>
        <p:grpSpPr>
          <a:xfrm>
            <a:off x="609284" y="2920915"/>
            <a:ext cx="2590776" cy="318924"/>
            <a:chOff x="2832361" y="2011945"/>
            <a:chExt cx="3534683" cy="333365"/>
          </a:xfrm>
        </p:grpSpPr>
        <p:sp>
          <p:nvSpPr>
            <p:cNvPr id="13" name="Arrow: Left-Right 12">
              <a:extLst>
                <a:ext uri="{FF2B5EF4-FFF2-40B4-BE49-F238E27FC236}">
                  <a16:creationId xmlns:a16="http://schemas.microsoft.com/office/drawing/2014/main" id="{5931D802-EE6E-0C95-F7CD-9BC81DBB48EF}"/>
                </a:ext>
              </a:extLst>
            </p:cNvPr>
            <p:cNvSpPr/>
            <p:nvPr/>
          </p:nvSpPr>
          <p:spPr>
            <a:xfrm>
              <a:off x="2832361" y="2011945"/>
              <a:ext cx="3534683" cy="333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600" b="1">
                  <a:solidFill>
                    <a:srgbClr val="1E3A74"/>
                  </a:solidFill>
                </a:rPr>
                <a:t>Cross-Validation</a:t>
              </a:r>
              <a:endParaRPr lang="en-US" sz="1600">
                <a:solidFill>
                  <a:srgbClr val="1E3A74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1B46BE3-87A2-6E2B-EFD4-14C74B5260A3}"/>
                </a:ext>
              </a:extLst>
            </p:cNvPr>
            <p:cNvCxnSpPr>
              <a:stCxn id="13" idx="4"/>
              <a:endCxn id="13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convertedtitle__637377678911144246">
            <a:extLst>
              <a:ext uri="{FF2B5EF4-FFF2-40B4-BE49-F238E27FC236}">
                <a16:creationId xmlns:a16="http://schemas.microsoft.com/office/drawing/2014/main" id="{CC1E3DB2-E33C-43EF-F617-10E1BB67E40A}"/>
              </a:ext>
            </a:extLst>
          </p:cNvPr>
          <p:cNvGrpSpPr/>
          <p:nvPr/>
        </p:nvGrpSpPr>
        <p:grpSpPr>
          <a:xfrm>
            <a:off x="3402339" y="2920915"/>
            <a:ext cx="2590776" cy="318924"/>
            <a:chOff x="2832361" y="2011945"/>
            <a:chExt cx="3534683" cy="333365"/>
          </a:xfrm>
        </p:grpSpPr>
        <p:sp>
          <p:nvSpPr>
            <p:cNvPr id="16" name="Arrow: Left-Right 15">
              <a:extLst>
                <a:ext uri="{FF2B5EF4-FFF2-40B4-BE49-F238E27FC236}">
                  <a16:creationId xmlns:a16="http://schemas.microsoft.com/office/drawing/2014/main" id="{5F79EDB7-A453-4FA7-5EAF-9788227D707C}"/>
                </a:ext>
              </a:extLst>
            </p:cNvPr>
            <p:cNvSpPr/>
            <p:nvPr/>
          </p:nvSpPr>
          <p:spPr>
            <a:xfrm>
              <a:off x="2832361" y="2011945"/>
              <a:ext cx="3534683" cy="333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600" b="1">
                  <a:solidFill>
                    <a:srgbClr val="1E3A74"/>
                  </a:solidFill>
                </a:rPr>
                <a:t>Individual Performance</a:t>
              </a:r>
              <a:endParaRPr lang="en-US" sz="1600">
                <a:solidFill>
                  <a:srgbClr val="1E3A74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A5949B5-D434-27B4-F99D-6C929B3769CD}"/>
                </a:ext>
              </a:extLst>
            </p:cNvPr>
            <p:cNvCxnSpPr>
              <a:stCxn id="16" idx="4"/>
              <a:endCxn id="16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convertedtitle__637377678911374211">
            <a:extLst>
              <a:ext uri="{FF2B5EF4-FFF2-40B4-BE49-F238E27FC236}">
                <a16:creationId xmlns:a16="http://schemas.microsoft.com/office/drawing/2014/main" id="{4553FE37-1423-B02C-731E-B39F5A37B63E}"/>
              </a:ext>
            </a:extLst>
          </p:cNvPr>
          <p:cNvGrpSpPr/>
          <p:nvPr/>
        </p:nvGrpSpPr>
        <p:grpSpPr>
          <a:xfrm>
            <a:off x="6195394" y="2920915"/>
            <a:ext cx="2590776" cy="318924"/>
            <a:chOff x="2832361" y="2011945"/>
            <a:chExt cx="3534683" cy="333365"/>
          </a:xfrm>
        </p:grpSpPr>
        <p:sp>
          <p:nvSpPr>
            <p:cNvPr id="19" name="Arrow: Left-Right 18">
              <a:extLst>
                <a:ext uri="{FF2B5EF4-FFF2-40B4-BE49-F238E27FC236}">
                  <a16:creationId xmlns:a16="http://schemas.microsoft.com/office/drawing/2014/main" id="{0652A170-ECBB-DF95-7882-A43607621692}"/>
                </a:ext>
              </a:extLst>
            </p:cNvPr>
            <p:cNvSpPr/>
            <p:nvPr/>
          </p:nvSpPr>
          <p:spPr>
            <a:xfrm>
              <a:off x="2832361" y="2011945"/>
              <a:ext cx="3534683" cy="333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600" b="1">
                  <a:solidFill>
                    <a:srgbClr val="1E3A74"/>
                  </a:solidFill>
                </a:rPr>
                <a:t>Ensemble Performance</a:t>
              </a:r>
              <a:endParaRPr lang="en-US" sz="1600">
                <a:solidFill>
                  <a:srgbClr val="1E3A74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E3C6DE3-04AE-1528-E579-0BD55F6DAD42}"/>
                </a:ext>
              </a:extLst>
            </p:cNvPr>
            <p:cNvCxnSpPr>
              <a:stCxn id="19" idx="4"/>
              <a:endCxn id="19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convertedtitle__637377678912267905">
            <a:extLst>
              <a:ext uri="{FF2B5EF4-FFF2-40B4-BE49-F238E27FC236}">
                <a16:creationId xmlns:a16="http://schemas.microsoft.com/office/drawing/2014/main" id="{843270BE-C53C-0C00-A574-19263A4970A3}"/>
              </a:ext>
            </a:extLst>
          </p:cNvPr>
          <p:cNvGrpSpPr/>
          <p:nvPr/>
        </p:nvGrpSpPr>
        <p:grpSpPr>
          <a:xfrm>
            <a:off x="8988449" y="2920915"/>
            <a:ext cx="2590776" cy="318924"/>
            <a:chOff x="2832361" y="2011945"/>
            <a:chExt cx="3534683" cy="333365"/>
          </a:xfrm>
        </p:grpSpPr>
        <p:sp>
          <p:nvSpPr>
            <p:cNvPr id="22" name="Arrow: Left-Right 21">
              <a:extLst>
                <a:ext uri="{FF2B5EF4-FFF2-40B4-BE49-F238E27FC236}">
                  <a16:creationId xmlns:a16="http://schemas.microsoft.com/office/drawing/2014/main" id="{BA2FCDB6-7AE7-EEF7-8477-49D5BA337A59}"/>
                </a:ext>
              </a:extLst>
            </p:cNvPr>
            <p:cNvSpPr/>
            <p:nvPr/>
          </p:nvSpPr>
          <p:spPr>
            <a:xfrm>
              <a:off x="2832361" y="2011945"/>
              <a:ext cx="3534683" cy="333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600" b="1">
                  <a:solidFill>
                    <a:srgbClr val="1E3A74"/>
                  </a:solidFill>
                </a:rPr>
                <a:t>Evaluation Metric</a:t>
              </a:r>
              <a:endParaRPr lang="en-US" sz="1600">
                <a:solidFill>
                  <a:srgbClr val="1E3A74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49B6FC4-6B83-9526-FAFE-DDD3EED433E7}"/>
                </a:ext>
              </a:extLst>
            </p:cNvPr>
            <p:cNvCxnSpPr>
              <a:stCxn id="22" idx="4"/>
              <a:endCxn id="2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phic 23" descr="Repeat">
            <a:extLst>
              <a:ext uri="{FF2B5EF4-FFF2-40B4-BE49-F238E27FC236}">
                <a16:creationId xmlns:a16="http://schemas.microsoft.com/office/drawing/2014/main" id="{D6B60390-6051-E9B6-8F01-C4B37058B7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689" y="1883891"/>
            <a:ext cx="903966" cy="903966"/>
          </a:xfrm>
          <a:prstGeom prst="rect">
            <a:avLst/>
          </a:prstGeom>
        </p:spPr>
      </p:pic>
      <p:grpSp>
        <p:nvGrpSpPr>
          <p:cNvPr id="26" name="Group 33">
            <a:extLst>
              <a:ext uri="{FF2B5EF4-FFF2-40B4-BE49-F238E27FC236}">
                <a16:creationId xmlns:a16="http://schemas.microsoft.com/office/drawing/2014/main" id="{2579250C-768F-967D-C2E4-4C2A207F0418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0078021" y="1797997"/>
            <a:ext cx="411627" cy="854920"/>
            <a:chOff x="1662" y="1657"/>
            <a:chExt cx="605" cy="1260"/>
          </a:xfrm>
        </p:grpSpPr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9655FDE9-9294-D1F1-B399-AB2ADE2F4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" y="2269"/>
              <a:ext cx="447" cy="549"/>
            </a:xfrm>
            <a:custGeom>
              <a:avLst/>
              <a:gdLst>
                <a:gd name="T0" fmla="*/ 223 w 447"/>
                <a:gd name="T1" fmla="*/ 5 h 549"/>
                <a:gd name="T2" fmla="*/ 190 w 447"/>
                <a:gd name="T3" fmla="*/ 9 h 549"/>
                <a:gd name="T4" fmla="*/ 183 w 447"/>
                <a:gd name="T5" fmla="*/ 11 h 549"/>
                <a:gd name="T6" fmla="*/ 169 w 447"/>
                <a:gd name="T7" fmla="*/ 16 h 549"/>
                <a:gd name="T8" fmla="*/ 147 w 447"/>
                <a:gd name="T9" fmla="*/ 25 h 549"/>
                <a:gd name="T10" fmla="*/ 120 w 447"/>
                <a:gd name="T11" fmla="*/ 42 h 549"/>
                <a:gd name="T12" fmla="*/ 90 w 447"/>
                <a:gd name="T13" fmla="*/ 68 h 549"/>
                <a:gd name="T14" fmla="*/ 60 w 447"/>
                <a:gd name="T15" fmla="*/ 102 h 549"/>
                <a:gd name="T16" fmla="*/ 34 w 447"/>
                <a:gd name="T17" fmla="*/ 151 h 549"/>
                <a:gd name="T18" fmla="*/ 10 w 447"/>
                <a:gd name="T19" fmla="*/ 213 h 549"/>
                <a:gd name="T20" fmla="*/ 0 w 447"/>
                <a:gd name="T21" fmla="*/ 539 h 549"/>
                <a:gd name="T22" fmla="*/ 447 w 447"/>
                <a:gd name="T23" fmla="*/ 549 h 549"/>
                <a:gd name="T24" fmla="*/ 442 w 447"/>
                <a:gd name="T25" fmla="*/ 213 h 549"/>
                <a:gd name="T26" fmla="*/ 440 w 447"/>
                <a:gd name="T27" fmla="*/ 205 h 549"/>
                <a:gd name="T28" fmla="*/ 433 w 447"/>
                <a:gd name="T29" fmla="*/ 184 h 549"/>
                <a:gd name="T30" fmla="*/ 420 w 447"/>
                <a:gd name="T31" fmla="*/ 156 h 549"/>
                <a:gd name="T32" fmla="*/ 401 w 447"/>
                <a:gd name="T33" fmla="*/ 120 h 549"/>
                <a:gd name="T34" fmla="*/ 376 w 447"/>
                <a:gd name="T35" fmla="*/ 83 h 549"/>
                <a:gd name="T36" fmla="*/ 344 w 447"/>
                <a:gd name="T37" fmla="*/ 49 h 549"/>
                <a:gd name="T38" fmla="*/ 305 w 447"/>
                <a:gd name="T39" fmla="*/ 20 h 549"/>
                <a:gd name="T40" fmla="*/ 258 w 447"/>
                <a:gd name="T41" fmla="*/ 0 h 549"/>
                <a:gd name="T42" fmla="*/ 223 w 447"/>
                <a:gd name="T43" fmla="*/ 5 h 54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47"/>
                <a:gd name="T67" fmla="*/ 0 h 549"/>
                <a:gd name="T68" fmla="*/ 447 w 447"/>
                <a:gd name="T69" fmla="*/ 549 h 54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47" h="549">
                  <a:moveTo>
                    <a:pt x="223" y="5"/>
                  </a:moveTo>
                  <a:lnTo>
                    <a:pt x="190" y="9"/>
                  </a:lnTo>
                  <a:lnTo>
                    <a:pt x="183" y="11"/>
                  </a:lnTo>
                  <a:lnTo>
                    <a:pt x="169" y="16"/>
                  </a:lnTo>
                  <a:lnTo>
                    <a:pt x="147" y="25"/>
                  </a:lnTo>
                  <a:lnTo>
                    <a:pt x="120" y="42"/>
                  </a:lnTo>
                  <a:lnTo>
                    <a:pt x="90" y="68"/>
                  </a:lnTo>
                  <a:lnTo>
                    <a:pt x="60" y="102"/>
                  </a:lnTo>
                  <a:lnTo>
                    <a:pt x="34" y="151"/>
                  </a:lnTo>
                  <a:lnTo>
                    <a:pt x="10" y="213"/>
                  </a:lnTo>
                  <a:lnTo>
                    <a:pt x="0" y="539"/>
                  </a:lnTo>
                  <a:lnTo>
                    <a:pt x="447" y="549"/>
                  </a:lnTo>
                  <a:lnTo>
                    <a:pt x="442" y="213"/>
                  </a:lnTo>
                  <a:lnTo>
                    <a:pt x="440" y="205"/>
                  </a:lnTo>
                  <a:lnTo>
                    <a:pt x="433" y="184"/>
                  </a:lnTo>
                  <a:lnTo>
                    <a:pt x="420" y="156"/>
                  </a:lnTo>
                  <a:lnTo>
                    <a:pt x="401" y="120"/>
                  </a:lnTo>
                  <a:lnTo>
                    <a:pt x="376" y="83"/>
                  </a:lnTo>
                  <a:lnTo>
                    <a:pt x="344" y="49"/>
                  </a:lnTo>
                  <a:lnTo>
                    <a:pt x="305" y="20"/>
                  </a:lnTo>
                  <a:lnTo>
                    <a:pt x="258" y="0"/>
                  </a:lnTo>
                  <a:lnTo>
                    <a:pt x="223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20523CB8-A5E5-F14C-B824-F433BDEA1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2" y="1657"/>
              <a:ext cx="605" cy="177"/>
            </a:xfrm>
            <a:custGeom>
              <a:avLst/>
              <a:gdLst>
                <a:gd name="T0" fmla="*/ 586 w 605"/>
                <a:gd name="T1" fmla="*/ 0 h 177"/>
                <a:gd name="T2" fmla="*/ 0 w 605"/>
                <a:gd name="T3" fmla="*/ 0 h 177"/>
                <a:gd name="T4" fmla="*/ 0 w 605"/>
                <a:gd name="T5" fmla="*/ 177 h 177"/>
                <a:gd name="T6" fmla="*/ 605 w 605"/>
                <a:gd name="T7" fmla="*/ 177 h 177"/>
                <a:gd name="T8" fmla="*/ 605 w 605"/>
                <a:gd name="T9" fmla="*/ 0 h 177"/>
                <a:gd name="T10" fmla="*/ 586 w 605"/>
                <a:gd name="T11" fmla="*/ 0 h 1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05"/>
                <a:gd name="T19" fmla="*/ 0 h 177"/>
                <a:gd name="T20" fmla="*/ 605 w 605"/>
                <a:gd name="T21" fmla="*/ 177 h 1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05" h="177">
                  <a:moveTo>
                    <a:pt x="586" y="0"/>
                  </a:moveTo>
                  <a:lnTo>
                    <a:pt x="0" y="0"/>
                  </a:lnTo>
                  <a:lnTo>
                    <a:pt x="0" y="177"/>
                  </a:lnTo>
                  <a:lnTo>
                    <a:pt x="605" y="177"/>
                  </a:lnTo>
                  <a:lnTo>
                    <a:pt x="605" y="0"/>
                  </a:lnTo>
                  <a:lnTo>
                    <a:pt x="586" y="0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B6C249FB-9520-5402-E833-3973D0007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695"/>
              <a:ext cx="532" cy="101"/>
            </a:xfrm>
            <a:custGeom>
              <a:avLst/>
              <a:gdLst>
                <a:gd name="T0" fmla="*/ 532 w 532"/>
                <a:gd name="T1" fmla="*/ 0 h 101"/>
                <a:gd name="T2" fmla="*/ 532 w 532"/>
                <a:gd name="T3" fmla="*/ 22 h 101"/>
                <a:gd name="T4" fmla="*/ 532 w 532"/>
                <a:gd name="T5" fmla="*/ 50 h 101"/>
                <a:gd name="T6" fmla="*/ 532 w 532"/>
                <a:gd name="T7" fmla="*/ 79 h 101"/>
                <a:gd name="T8" fmla="*/ 532 w 532"/>
                <a:gd name="T9" fmla="*/ 101 h 101"/>
                <a:gd name="T10" fmla="*/ 521 w 532"/>
                <a:gd name="T11" fmla="*/ 101 h 101"/>
                <a:gd name="T12" fmla="*/ 500 w 532"/>
                <a:gd name="T13" fmla="*/ 101 h 101"/>
                <a:gd name="T14" fmla="*/ 474 w 532"/>
                <a:gd name="T15" fmla="*/ 101 h 101"/>
                <a:gd name="T16" fmla="*/ 439 w 532"/>
                <a:gd name="T17" fmla="*/ 101 h 101"/>
                <a:gd name="T18" fmla="*/ 401 w 532"/>
                <a:gd name="T19" fmla="*/ 101 h 101"/>
                <a:gd name="T20" fmla="*/ 358 w 532"/>
                <a:gd name="T21" fmla="*/ 101 h 101"/>
                <a:gd name="T22" fmla="*/ 313 w 532"/>
                <a:gd name="T23" fmla="*/ 101 h 101"/>
                <a:gd name="T24" fmla="*/ 267 w 532"/>
                <a:gd name="T25" fmla="*/ 101 h 101"/>
                <a:gd name="T26" fmla="*/ 220 w 532"/>
                <a:gd name="T27" fmla="*/ 101 h 101"/>
                <a:gd name="T28" fmla="*/ 174 w 532"/>
                <a:gd name="T29" fmla="*/ 101 h 101"/>
                <a:gd name="T30" fmla="*/ 131 w 532"/>
                <a:gd name="T31" fmla="*/ 101 h 101"/>
                <a:gd name="T32" fmla="*/ 94 w 532"/>
                <a:gd name="T33" fmla="*/ 101 h 101"/>
                <a:gd name="T34" fmla="*/ 59 w 532"/>
                <a:gd name="T35" fmla="*/ 101 h 101"/>
                <a:gd name="T36" fmla="*/ 32 w 532"/>
                <a:gd name="T37" fmla="*/ 101 h 101"/>
                <a:gd name="T38" fmla="*/ 12 w 532"/>
                <a:gd name="T39" fmla="*/ 101 h 101"/>
                <a:gd name="T40" fmla="*/ 0 w 532"/>
                <a:gd name="T41" fmla="*/ 101 h 101"/>
                <a:gd name="T42" fmla="*/ 0 w 532"/>
                <a:gd name="T43" fmla="*/ 79 h 101"/>
                <a:gd name="T44" fmla="*/ 0 w 532"/>
                <a:gd name="T45" fmla="*/ 50 h 101"/>
                <a:gd name="T46" fmla="*/ 0 w 532"/>
                <a:gd name="T47" fmla="*/ 22 h 101"/>
                <a:gd name="T48" fmla="*/ 0 w 532"/>
                <a:gd name="T49" fmla="*/ 0 h 101"/>
                <a:gd name="T50" fmla="*/ 12 w 532"/>
                <a:gd name="T51" fmla="*/ 0 h 101"/>
                <a:gd name="T52" fmla="*/ 32 w 532"/>
                <a:gd name="T53" fmla="*/ 0 h 101"/>
                <a:gd name="T54" fmla="*/ 59 w 532"/>
                <a:gd name="T55" fmla="*/ 0 h 101"/>
                <a:gd name="T56" fmla="*/ 94 w 532"/>
                <a:gd name="T57" fmla="*/ 0 h 101"/>
                <a:gd name="T58" fmla="*/ 131 w 532"/>
                <a:gd name="T59" fmla="*/ 0 h 101"/>
                <a:gd name="T60" fmla="*/ 174 w 532"/>
                <a:gd name="T61" fmla="*/ 0 h 101"/>
                <a:gd name="T62" fmla="*/ 220 w 532"/>
                <a:gd name="T63" fmla="*/ 0 h 101"/>
                <a:gd name="T64" fmla="*/ 267 w 532"/>
                <a:gd name="T65" fmla="*/ 0 h 101"/>
                <a:gd name="T66" fmla="*/ 313 w 532"/>
                <a:gd name="T67" fmla="*/ 0 h 101"/>
                <a:gd name="T68" fmla="*/ 358 w 532"/>
                <a:gd name="T69" fmla="*/ 0 h 101"/>
                <a:gd name="T70" fmla="*/ 401 w 532"/>
                <a:gd name="T71" fmla="*/ 0 h 101"/>
                <a:gd name="T72" fmla="*/ 439 w 532"/>
                <a:gd name="T73" fmla="*/ 0 h 101"/>
                <a:gd name="T74" fmla="*/ 474 w 532"/>
                <a:gd name="T75" fmla="*/ 0 h 101"/>
                <a:gd name="T76" fmla="*/ 500 w 532"/>
                <a:gd name="T77" fmla="*/ 0 h 101"/>
                <a:gd name="T78" fmla="*/ 521 w 532"/>
                <a:gd name="T79" fmla="*/ 0 h 101"/>
                <a:gd name="T80" fmla="*/ 532 w 532"/>
                <a:gd name="T81" fmla="*/ 0 h 10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32"/>
                <a:gd name="T124" fmla="*/ 0 h 101"/>
                <a:gd name="T125" fmla="*/ 532 w 532"/>
                <a:gd name="T126" fmla="*/ 101 h 10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32" h="101">
                  <a:moveTo>
                    <a:pt x="532" y="0"/>
                  </a:moveTo>
                  <a:lnTo>
                    <a:pt x="532" y="22"/>
                  </a:lnTo>
                  <a:lnTo>
                    <a:pt x="532" y="50"/>
                  </a:lnTo>
                  <a:lnTo>
                    <a:pt x="532" y="79"/>
                  </a:lnTo>
                  <a:lnTo>
                    <a:pt x="532" y="101"/>
                  </a:lnTo>
                  <a:lnTo>
                    <a:pt x="521" y="101"/>
                  </a:lnTo>
                  <a:lnTo>
                    <a:pt x="500" y="101"/>
                  </a:lnTo>
                  <a:lnTo>
                    <a:pt x="474" y="101"/>
                  </a:lnTo>
                  <a:lnTo>
                    <a:pt x="439" y="101"/>
                  </a:lnTo>
                  <a:lnTo>
                    <a:pt x="401" y="101"/>
                  </a:lnTo>
                  <a:lnTo>
                    <a:pt x="358" y="101"/>
                  </a:lnTo>
                  <a:lnTo>
                    <a:pt x="313" y="101"/>
                  </a:lnTo>
                  <a:lnTo>
                    <a:pt x="267" y="101"/>
                  </a:lnTo>
                  <a:lnTo>
                    <a:pt x="220" y="101"/>
                  </a:lnTo>
                  <a:lnTo>
                    <a:pt x="174" y="101"/>
                  </a:lnTo>
                  <a:lnTo>
                    <a:pt x="131" y="101"/>
                  </a:lnTo>
                  <a:lnTo>
                    <a:pt x="94" y="101"/>
                  </a:lnTo>
                  <a:lnTo>
                    <a:pt x="59" y="101"/>
                  </a:lnTo>
                  <a:lnTo>
                    <a:pt x="32" y="101"/>
                  </a:lnTo>
                  <a:lnTo>
                    <a:pt x="12" y="101"/>
                  </a:lnTo>
                  <a:lnTo>
                    <a:pt x="0" y="101"/>
                  </a:lnTo>
                  <a:lnTo>
                    <a:pt x="0" y="79"/>
                  </a:lnTo>
                  <a:lnTo>
                    <a:pt x="0" y="50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2" y="0"/>
                  </a:lnTo>
                  <a:lnTo>
                    <a:pt x="59" y="0"/>
                  </a:lnTo>
                  <a:lnTo>
                    <a:pt x="94" y="0"/>
                  </a:lnTo>
                  <a:lnTo>
                    <a:pt x="131" y="0"/>
                  </a:lnTo>
                  <a:lnTo>
                    <a:pt x="174" y="0"/>
                  </a:lnTo>
                  <a:lnTo>
                    <a:pt x="220" y="0"/>
                  </a:lnTo>
                  <a:lnTo>
                    <a:pt x="267" y="0"/>
                  </a:lnTo>
                  <a:lnTo>
                    <a:pt x="313" y="0"/>
                  </a:lnTo>
                  <a:lnTo>
                    <a:pt x="358" y="0"/>
                  </a:lnTo>
                  <a:lnTo>
                    <a:pt x="401" y="0"/>
                  </a:lnTo>
                  <a:lnTo>
                    <a:pt x="439" y="0"/>
                  </a:lnTo>
                  <a:lnTo>
                    <a:pt x="474" y="0"/>
                  </a:lnTo>
                  <a:lnTo>
                    <a:pt x="500" y="0"/>
                  </a:lnTo>
                  <a:lnTo>
                    <a:pt x="521" y="0"/>
                  </a:lnTo>
                  <a:lnTo>
                    <a:pt x="532" y="0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B602BA73-769E-E4AD-DBCE-989161EB8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" y="1802"/>
              <a:ext cx="472" cy="972"/>
            </a:xfrm>
            <a:custGeom>
              <a:avLst/>
              <a:gdLst>
                <a:gd name="T0" fmla="*/ 316 w 472"/>
                <a:gd name="T1" fmla="*/ 446 h 972"/>
                <a:gd name="T2" fmla="*/ 387 w 472"/>
                <a:gd name="T3" fmla="*/ 399 h 972"/>
                <a:gd name="T4" fmla="*/ 439 w 472"/>
                <a:gd name="T5" fmla="*/ 328 h 972"/>
                <a:gd name="T6" fmla="*/ 469 w 472"/>
                <a:gd name="T7" fmla="*/ 238 h 972"/>
                <a:gd name="T8" fmla="*/ 472 w 472"/>
                <a:gd name="T9" fmla="*/ 0 h 972"/>
                <a:gd name="T10" fmla="*/ 434 w 472"/>
                <a:gd name="T11" fmla="*/ 189 h 972"/>
                <a:gd name="T12" fmla="*/ 418 w 472"/>
                <a:gd name="T13" fmla="*/ 281 h 972"/>
                <a:gd name="T14" fmla="*/ 376 w 472"/>
                <a:gd name="T15" fmla="*/ 356 h 972"/>
                <a:gd name="T16" fmla="*/ 313 w 472"/>
                <a:gd name="T17" fmla="*/ 407 h 972"/>
                <a:gd name="T18" fmla="*/ 235 w 472"/>
                <a:gd name="T19" fmla="*/ 426 h 972"/>
                <a:gd name="T20" fmla="*/ 158 w 472"/>
                <a:gd name="T21" fmla="*/ 407 h 972"/>
                <a:gd name="T22" fmla="*/ 95 w 472"/>
                <a:gd name="T23" fmla="*/ 356 h 972"/>
                <a:gd name="T24" fmla="*/ 52 w 472"/>
                <a:gd name="T25" fmla="*/ 281 h 972"/>
                <a:gd name="T26" fmla="*/ 37 w 472"/>
                <a:gd name="T27" fmla="*/ 189 h 972"/>
                <a:gd name="T28" fmla="*/ 0 w 472"/>
                <a:gd name="T29" fmla="*/ 9 h 972"/>
                <a:gd name="T30" fmla="*/ 4 w 472"/>
                <a:gd name="T31" fmla="*/ 238 h 972"/>
                <a:gd name="T32" fmla="*/ 34 w 472"/>
                <a:gd name="T33" fmla="*/ 328 h 972"/>
                <a:gd name="T34" fmla="*/ 86 w 472"/>
                <a:gd name="T35" fmla="*/ 399 h 972"/>
                <a:gd name="T36" fmla="*/ 157 w 472"/>
                <a:gd name="T37" fmla="*/ 446 h 972"/>
                <a:gd name="T38" fmla="*/ 157 w 472"/>
                <a:gd name="T39" fmla="*/ 472 h 972"/>
                <a:gd name="T40" fmla="*/ 86 w 472"/>
                <a:gd name="T41" fmla="*/ 519 h 972"/>
                <a:gd name="T42" fmla="*/ 34 w 472"/>
                <a:gd name="T43" fmla="*/ 590 h 972"/>
                <a:gd name="T44" fmla="*/ 4 w 472"/>
                <a:gd name="T45" fmla="*/ 680 h 972"/>
                <a:gd name="T46" fmla="*/ 0 w 472"/>
                <a:gd name="T47" fmla="*/ 972 h 972"/>
                <a:gd name="T48" fmla="*/ 37 w 472"/>
                <a:gd name="T49" fmla="*/ 729 h 972"/>
                <a:gd name="T50" fmla="*/ 52 w 472"/>
                <a:gd name="T51" fmla="*/ 637 h 972"/>
                <a:gd name="T52" fmla="*/ 95 w 472"/>
                <a:gd name="T53" fmla="*/ 561 h 972"/>
                <a:gd name="T54" fmla="*/ 160 w 472"/>
                <a:gd name="T55" fmla="*/ 511 h 972"/>
                <a:gd name="T56" fmla="*/ 237 w 472"/>
                <a:gd name="T57" fmla="*/ 492 h 972"/>
                <a:gd name="T58" fmla="*/ 314 w 472"/>
                <a:gd name="T59" fmla="*/ 511 h 972"/>
                <a:gd name="T60" fmla="*/ 377 w 472"/>
                <a:gd name="T61" fmla="*/ 561 h 972"/>
                <a:gd name="T62" fmla="*/ 420 w 472"/>
                <a:gd name="T63" fmla="*/ 637 h 972"/>
                <a:gd name="T64" fmla="*/ 436 w 472"/>
                <a:gd name="T65" fmla="*/ 729 h 972"/>
                <a:gd name="T66" fmla="*/ 472 w 472"/>
                <a:gd name="T67" fmla="*/ 953 h 972"/>
                <a:gd name="T68" fmla="*/ 469 w 472"/>
                <a:gd name="T69" fmla="*/ 680 h 972"/>
                <a:gd name="T70" fmla="*/ 439 w 472"/>
                <a:gd name="T71" fmla="*/ 590 h 972"/>
                <a:gd name="T72" fmla="*/ 387 w 472"/>
                <a:gd name="T73" fmla="*/ 519 h 972"/>
                <a:gd name="T74" fmla="*/ 316 w 472"/>
                <a:gd name="T75" fmla="*/ 472 h 9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2"/>
                <a:gd name="T115" fmla="*/ 0 h 972"/>
                <a:gd name="T116" fmla="*/ 472 w 472"/>
                <a:gd name="T117" fmla="*/ 972 h 9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2" h="972">
                  <a:moveTo>
                    <a:pt x="275" y="459"/>
                  </a:moveTo>
                  <a:lnTo>
                    <a:pt x="316" y="446"/>
                  </a:lnTo>
                  <a:lnTo>
                    <a:pt x="352" y="426"/>
                  </a:lnTo>
                  <a:lnTo>
                    <a:pt x="387" y="399"/>
                  </a:lnTo>
                  <a:lnTo>
                    <a:pt x="415" y="366"/>
                  </a:lnTo>
                  <a:lnTo>
                    <a:pt x="439" y="328"/>
                  </a:lnTo>
                  <a:lnTo>
                    <a:pt x="456" y="285"/>
                  </a:lnTo>
                  <a:lnTo>
                    <a:pt x="469" y="238"/>
                  </a:lnTo>
                  <a:lnTo>
                    <a:pt x="472" y="189"/>
                  </a:lnTo>
                  <a:lnTo>
                    <a:pt x="472" y="0"/>
                  </a:lnTo>
                  <a:lnTo>
                    <a:pt x="434" y="0"/>
                  </a:lnTo>
                  <a:lnTo>
                    <a:pt x="434" y="189"/>
                  </a:lnTo>
                  <a:lnTo>
                    <a:pt x="429" y="237"/>
                  </a:lnTo>
                  <a:lnTo>
                    <a:pt x="418" y="281"/>
                  </a:lnTo>
                  <a:lnTo>
                    <a:pt x="401" y="322"/>
                  </a:lnTo>
                  <a:lnTo>
                    <a:pt x="376" y="356"/>
                  </a:lnTo>
                  <a:lnTo>
                    <a:pt x="347" y="385"/>
                  </a:lnTo>
                  <a:lnTo>
                    <a:pt x="313" y="407"/>
                  </a:lnTo>
                  <a:lnTo>
                    <a:pt x="276" y="421"/>
                  </a:lnTo>
                  <a:lnTo>
                    <a:pt x="235" y="426"/>
                  </a:lnTo>
                  <a:lnTo>
                    <a:pt x="194" y="421"/>
                  </a:lnTo>
                  <a:lnTo>
                    <a:pt x="158" y="407"/>
                  </a:lnTo>
                  <a:lnTo>
                    <a:pt x="123" y="385"/>
                  </a:lnTo>
                  <a:lnTo>
                    <a:pt x="95" y="356"/>
                  </a:lnTo>
                  <a:lnTo>
                    <a:pt x="70" y="322"/>
                  </a:lnTo>
                  <a:lnTo>
                    <a:pt x="52" y="281"/>
                  </a:lnTo>
                  <a:lnTo>
                    <a:pt x="41" y="237"/>
                  </a:lnTo>
                  <a:lnTo>
                    <a:pt x="37" y="189"/>
                  </a:lnTo>
                  <a:lnTo>
                    <a:pt x="37" y="9"/>
                  </a:lnTo>
                  <a:lnTo>
                    <a:pt x="0" y="9"/>
                  </a:lnTo>
                  <a:lnTo>
                    <a:pt x="0" y="189"/>
                  </a:lnTo>
                  <a:lnTo>
                    <a:pt x="4" y="238"/>
                  </a:lnTo>
                  <a:lnTo>
                    <a:pt x="16" y="285"/>
                  </a:lnTo>
                  <a:lnTo>
                    <a:pt x="34" y="328"/>
                  </a:lnTo>
                  <a:lnTo>
                    <a:pt x="57" y="366"/>
                  </a:lnTo>
                  <a:lnTo>
                    <a:pt x="86" y="399"/>
                  </a:lnTo>
                  <a:lnTo>
                    <a:pt x="119" y="426"/>
                  </a:lnTo>
                  <a:lnTo>
                    <a:pt x="157" y="446"/>
                  </a:lnTo>
                  <a:lnTo>
                    <a:pt x="196" y="459"/>
                  </a:lnTo>
                  <a:lnTo>
                    <a:pt x="157" y="472"/>
                  </a:lnTo>
                  <a:lnTo>
                    <a:pt x="119" y="492"/>
                  </a:lnTo>
                  <a:lnTo>
                    <a:pt x="86" y="519"/>
                  </a:lnTo>
                  <a:lnTo>
                    <a:pt x="57" y="550"/>
                  </a:lnTo>
                  <a:lnTo>
                    <a:pt x="34" y="590"/>
                  </a:lnTo>
                  <a:lnTo>
                    <a:pt x="16" y="632"/>
                  </a:lnTo>
                  <a:lnTo>
                    <a:pt x="4" y="680"/>
                  </a:lnTo>
                  <a:lnTo>
                    <a:pt x="0" y="729"/>
                  </a:lnTo>
                  <a:lnTo>
                    <a:pt x="0" y="972"/>
                  </a:lnTo>
                  <a:lnTo>
                    <a:pt x="37" y="972"/>
                  </a:lnTo>
                  <a:lnTo>
                    <a:pt x="37" y="729"/>
                  </a:lnTo>
                  <a:lnTo>
                    <a:pt x="41" y="681"/>
                  </a:lnTo>
                  <a:lnTo>
                    <a:pt x="52" y="637"/>
                  </a:lnTo>
                  <a:lnTo>
                    <a:pt x="71" y="596"/>
                  </a:lnTo>
                  <a:lnTo>
                    <a:pt x="95" y="561"/>
                  </a:lnTo>
                  <a:lnTo>
                    <a:pt x="125" y="533"/>
                  </a:lnTo>
                  <a:lnTo>
                    <a:pt x="160" y="511"/>
                  </a:lnTo>
                  <a:lnTo>
                    <a:pt x="196" y="497"/>
                  </a:lnTo>
                  <a:lnTo>
                    <a:pt x="237" y="492"/>
                  </a:lnTo>
                  <a:lnTo>
                    <a:pt x="276" y="497"/>
                  </a:lnTo>
                  <a:lnTo>
                    <a:pt x="314" y="511"/>
                  </a:lnTo>
                  <a:lnTo>
                    <a:pt x="347" y="533"/>
                  </a:lnTo>
                  <a:lnTo>
                    <a:pt x="377" y="561"/>
                  </a:lnTo>
                  <a:lnTo>
                    <a:pt x="401" y="596"/>
                  </a:lnTo>
                  <a:lnTo>
                    <a:pt x="420" y="637"/>
                  </a:lnTo>
                  <a:lnTo>
                    <a:pt x="431" y="681"/>
                  </a:lnTo>
                  <a:lnTo>
                    <a:pt x="436" y="729"/>
                  </a:lnTo>
                  <a:lnTo>
                    <a:pt x="436" y="953"/>
                  </a:lnTo>
                  <a:lnTo>
                    <a:pt x="472" y="953"/>
                  </a:lnTo>
                  <a:lnTo>
                    <a:pt x="472" y="729"/>
                  </a:lnTo>
                  <a:lnTo>
                    <a:pt x="469" y="680"/>
                  </a:lnTo>
                  <a:lnTo>
                    <a:pt x="456" y="632"/>
                  </a:lnTo>
                  <a:lnTo>
                    <a:pt x="439" y="590"/>
                  </a:lnTo>
                  <a:lnTo>
                    <a:pt x="415" y="550"/>
                  </a:lnTo>
                  <a:lnTo>
                    <a:pt x="387" y="519"/>
                  </a:lnTo>
                  <a:lnTo>
                    <a:pt x="352" y="492"/>
                  </a:lnTo>
                  <a:lnTo>
                    <a:pt x="316" y="472"/>
                  </a:lnTo>
                  <a:lnTo>
                    <a:pt x="275" y="459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F97E2008-3580-7B53-189D-EA85F05F6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" y="2020"/>
              <a:ext cx="309" cy="165"/>
            </a:xfrm>
            <a:custGeom>
              <a:avLst/>
              <a:gdLst>
                <a:gd name="T0" fmla="*/ 0 w 309"/>
                <a:gd name="T1" fmla="*/ 0 h 165"/>
                <a:gd name="T2" fmla="*/ 6 w 309"/>
                <a:gd name="T3" fmla="*/ 33 h 165"/>
                <a:gd name="T4" fmla="*/ 17 w 309"/>
                <a:gd name="T5" fmla="*/ 64 h 165"/>
                <a:gd name="T6" fmla="*/ 31 w 309"/>
                <a:gd name="T7" fmla="*/ 93 h 165"/>
                <a:gd name="T8" fmla="*/ 52 w 309"/>
                <a:gd name="T9" fmla="*/ 118 h 165"/>
                <a:gd name="T10" fmla="*/ 74 w 309"/>
                <a:gd name="T11" fmla="*/ 137 h 165"/>
                <a:gd name="T12" fmla="*/ 98 w 309"/>
                <a:gd name="T13" fmla="*/ 153 h 165"/>
                <a:gd name="T14" fmla="*/ 126 w 309"/>
                <a:gd name="T15" fmla="*/ 162 h 165"/>
                <a:gd name="T16" fmla="*/ 154 w 309"/>
                <a:gd name="T17" fmla="*/ 165 h 165"/>
                <a:gd name="T18" fmla="*/ 184 w 309"/>
                <a:gd name="T19" fmla="*/ 162 h 165"/>
                <a:gd name="T20" fmla="*/ 211 w 309"/>
                <a:gd name="T21" fmla="*/ 153 h 165"/>
                <a:gd name="T22" fmla="*/ 236 w 309"/>
                <a:gd name="T23" fmla="*/ 137 h 165"/>
                <a:gd name="T24" fmla="*/ 258 w 309"/>
                <a:gd name="T25" fmla="*/ 118 h 165"/>
                <a:gd name="T26" fmla="*/ 277 w 309"/>
                <a:gd name="T27" fmla="*/ 93 h 165"/>
                <a:gd name="T28" fmla="*/ 292 w 309"/>
                <a:gd name="T29" fmla="*/ 64 h 165"/>
                <a:gd name="T30" fmla="*/ 303 w 309"/>
                <a:gd name="T31" fmla="*/ 33 h 165"/>
                <a:gd name="T32" fmla="*/ 309 w 309"/>
                <a:gd name="T33" fmla="*/ 0 h 165"/>
                <a:gd name="T34" fmla="*/ 0 w 309"/>
                <a:gd name="T35" fmla="*/ 0 h 16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9"/>
                <a:gd name="T55" fmla="*/ 0 h 165"/>
                <a:gd name="T56" fmla="*/ 309 w 309"/>
                <a:gd name="T57" fmla="*/ 165 h 16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9" h="165">
                  <a:moveTo>
                    <a:pt x="0" y="0"/>
                  </a:moveTo>
                  <a:lnTo>
                    <a:pt x="6" y="33"/>
                  </a:lnTo>
                  <a:lnTo>
                    <a:pt x="17" y="64"/>
                  </a:lnTo>
                  <a:lnTo>
                    <a:pt x="31" y="93"/>
                  </a:lnTo>
                  <a:lnTo>
                    <a:pt x="52" y="118"/>
                  </a:lnTo>
                  <a:lnTo>
                    <a:pt x="74" y="137"/>
                  </a:lnTo>
                  <a:lnTo>
                    <a:pt x="98" y="153"/>
                  </a:lnTo>
                  <a:lnTo>
                    <a:pt x="126" y="162"/>
                  </a:lnTo>
                  <a:lnTo>
                    <a:pt x="154" y="165"/>
                  </a:lnTo>
                  <a:lnTo>
                    <a:pt x="184" y="162"/>
                  </a:lnTo>
                  <a:lnTo>
                    <a:pt x="211" y="153"/>
                  </a:lnTo>
                  <a:lnTo>
                    <a:pt x="236" y="137"/>
                  </a:lnTo>
                  <a:lnTo>
                    <a:pt x="258" y="118"/>
                  </a:lnTo>
                  <a:lnTo>
                    <a:pt x="277" y="93"/>
                  </a:lnTo>
                  <a:lnTo>
                    <a:pt x="292" y="64"/>
                  </a:lnTo>
                  <a:lnTo>
                    <a:pt x="303" y="33"/>
                  </a:lnTo>
                  <a:lnTo>
                    <a:pt x="30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39">
              <a:extLst>
                <a:ext uri="{FF2B5EF4-FFF2-40B4-BE49-F238E27FC236}">
                  <a16:creationId xmlns:a16="http://schemas.microsoft.com/office/drawing/2014/main" id="{686D080A-903B-7FDF-6F4E-1177C4FA5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2324"/>
              <a:ext cx="50" cy="51"/>
            </a:xfrm>
            <a:custGeom>
              <a:avLst/>
              <a:gdLst>
                <a:gd name="T0" fmla="*/ 50 w 50"/>
                <a:gd name="T1" fmla="*/ 25 h 51"/>
                <a:gd name="T2" fmla="*/ 49 w 50"/>
                <a:gd name="T3" fmla="*/ 35 h 51"/>
                <a:gd name="T4" fmla="*/ 42 w 50"/>
                <a:gd name="T5" fmla="*/ 43 h 51"/>
                <a:gd name="T6" fmla="*/ 35 w 50"/>
                <a:gd name="T7" fmla="*/ 49 h 51"/>
                <a:gd name="T8" fmla="*/ 25 w 50"/>
                <a:gd name="T9" fmla="*/ 51 h 51"/>
                <a:gd name="T10" fmla="*/ 16 w 50"/>
                <a:gd name="T11" fmla="*/ 49 h 51"/>
                <a:gd name="T12" fmla="*/ 8 w 50"/>
                <a:gd name="T13" fmla="*/ 43 h 51"/>
                <a:gd name="T14" fmla="*/ 1 w 50"/>
                <a:gd name="T15" fmla="*/ 35 h 51"/>
                <a:gd name="T16" fmla="*/ 0 w 50"/>
                <a:gd name="T17" fmla="*/ 25 h 51"/>
                <a:gd name="T18" fmla="*/ 1 w 50"/>
                <a:gd name="T19" fmla="*/ 16 h 51"/>
                <a:gd name="T20" fmla="*/ 8 w 50"/>
                <a:gd name="T21" fmla="*/ 8 h 51"/>
                <a:gd name="T22" fmla="*/ 16 w 50"/>
                <a:gd name="T23" fmla="*/ 2 h 51"/>
                <a:gd name="T24" fmla="*/ 25 w 50"/>
                <a:gd name="T25" fmla="*/ 0 h 51"/>
                <a:gd name="T26" fmla="*/ 35 w 50"/>
                <a:gd name="T27" fmla="*/ 2 h 51"/>
                <a:gd name="T28" fmla="*/ 42 w 50"/>
                <a:gd name="T29" fmla="*/ 8 h 51"/>
                <a:gd name="T30" fmla="*/ 49 w 50"/>
                <a:gd name="T31" fmla="*/ 16 h 51"/>
                <a:gd name="T32" fmla="*/ 50 w 50"/>
                <a:gd name="T33" fmla="*/ 25 h 5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0"/>
                <a:gd name="T52" fmla="*/ 0 h 51"/>
                <a:gd name="T53" fmla="*/ 50 w 50"/>
                <a:gd name="T54" fmla="*/ 51 h 5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0" h="51">
                  <a:moveTo>
                    <a:pt x="50" y="25"/>
                  </a:moveTo>
                  <a:lnTo>
                    <a:pt x="49" y="35"/>
                  </a:lnTo>
                  <a:lnTo>
                    <a:pt x="42" y="43"/>
                  </a:lnTo>
                  <a:lnTo>
                    <a:pt x="35" y="49"/>
                  </a:lnTo>
                  <a:lnTo>
                    <a:pt x="25" y="51"/>
                  </a:lnTo>
                  <a:lnTo>
                    <a:pt x="16" y="49"/>
                  </a:lnTo>
                  <a:lnTo>
                    <a:pt x="8" y="43"/>
                  </a:lnTo>
                  <a:lnTo>
                    <a:pt x="1" y="35"/>
                  </a:lnTo>
                  <a:lnTo>
                    <a:pt x="0" y="25"/>
                  </a:lnTo>
                  <a:lnTo>
                    <a:pt x="1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5" y="2"/>
                  </a:lnTo>
                  <a:lnTo>
                    <a:pt x="42" y="8"/>
                  </a:lnTo>
                  <a:lnTo>
                    <a:pt x="49" y="16"/>
                  </a:lnTo>
                  <a:lnTo>
                    <a:pt x="50" y="25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40">
              <a:extLst>
                <a:ext uri="{FF2B5EF4-FFF2-40B4-BE49-F238E27FC236}">
                  <a16:creationId xmlns:a16="http://schemas.microsoft.com/office/drawing/2014/main" id="{2B51EF59-D144-842A-BB00-945821A80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2416"/>
              <a:ext cx="50" cy="50"/>
            </a:xfrm>
            <a:custGeom>
              <a:avLst/>
              <a:gdLst>
                <a:gd name="T0" fmla="*/ 50 w 50"/>
                <a:gd name="T1" fmla="*/ 25 h 50"/>
                <a:gd name="T2" fmla="*/ 49 w 50"/>
                <a:gd name="T3" fmla="*/ 34 h 50"/>
                <a:gd name="T4" fmla="*/ 42 w 50"/>
                <a:gd name="T5" fmla="*/ 42 h 50"/>
                <a:gd name="T6" fmla="*/ 35 w 50"/>
                <a:gd name="T7" fmla="*/ 48 h 50"/>
                <a:gd name="T8" fmla="*/ 25 w 50"/>
                <a:gd name="T9" fmla="*/ 50 h 50"/>
                <a:gd name="T10" fmla="*/ 16 w 50"/>
                <a:gd name="T11" fmla="*/ 48 h 50"/>
                <a:gd name="T12" fmla="*/ 8 w 50"/>
                <a:gd name="T13" fmla="*/ 42 h 50"/>
                <a:gd name="T14" fmla="*/ 1 w 50"/>
                <a:gd name="T15" fmla="*/ 34 h 50"/>
                <a:gd name="T16" fmla="*/ 0 w 50"/>
                <a:gd name="T17" fmla="*/ 25 h 50"/>
                <a:gd name="T18" fmla="*/ 1 w 50"/>
                <a:gd name="T19" fmla="*/ 15 h 50"/>
                <a:gd name="T20" fmla="*/ 8 w 50"/>
                <a:gd name="T21" fmla="*/ 7 h 50"/>
                <a:gd name="T22" fmla="*/ 16 w 50"/>
                <a:gd name="T23" fmla="*/ 1 h 50"/>
                <a:gd name="T24" fmla="*/ 25 w 50"/>
                <a:gd name="T25" fmla="*/ 0 h 50"/>
                <a:gd name="T26" fmla="*/ 35 w 50"/>
                <a:gd name="T27" fmla="*/ 1 h 50"/>
                <a:gd name="T28" fmla="*/ 42 w 50"/>
                <a:gd name="T29" fmla="*/ 7 h 50"/>
                <a:gd name="T30" fmla="*/ 49 w 50"/>
                <a:gd name="T31" fmla="*/ 15 h 50"/>
                <a:gd name="T32" fmla="*/ 50 w 50"/>
                <a:gd name="T33" fmla="*/ 25 h 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0"/>
                <a:gd name="T52" fmla="*/ 0 h 50"/>
                <a:gd name="T53" fmla="*/ 50 w 50"/>
                <a:gd name="T54" fmla="*/ 50 h 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0" h="50">
                  <a:moveTo>
                    <a:pt x="50" y="25"/>
                  </a:moveTo>
                  <a:lnTo>
                    <a:pt x="49" y="34"/>
                  </a:lnTo>
                  <a:lnTo>
                    <a:pt x="42" y="42"/>
                  </a:lnTo>
                  <a:lnTo>
                    <a:pt x="35" y="48"/>
                  </a:lnTo>
                  <a:lnTo>
                    <a:pt x="25" y="50"/>
                  </a:lnTo>
                  <a:lnTo>
                    <a:pt x="16" y="48"/>
                  </a:lnTo>
                  <a:lnTo>
                    <a:pt x="8" y="42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1" y="15"/>
                  </a:lnTo>
                  <a:lnTo>
                    <a:pt x="8" y="7"/>
                  </a:lnTo>
                  <a:lnTo>
                    <a:pt x="16" y="1"/>
                  </a:lnTo>
                  <a:lnTo>
                    <a:pt x="25" y="0"/>
                  </a:lnTo>
                  <a:lnTo>
                    <a:pt x="35" y="1"/>
                  </a:lnTo>
                  <a:lnTo>
                    <a:pt x="42" y="7"/>
                  </a:lnTo>
                  <a:lnTo>
                    <a:pt x="49" y="15"/>
                  </a:lnTo>
                  <a:lnTo>
                    <a:pt x="50" y="25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41">
              <a:extLst>
                <a:ext uri="{FF2B5EF4-FFF2-40B4-BE49-F238E27FC236}">
                  <a16:creationId xmlns:a16="http://schemas.microsoft.com/office/drawing/2014/main" id="{8E1C38E5-5EF0-1E26-559E-807FF1547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" y="2505"/>
              <a:ext cx="50" cy="52"/>
            </a:xfrm>
            <a:custGeom>
              <a:avLst/>
              <a:gdLst>
                <a:gd name="T0" fmla="*/ 50 w 50"/>
                <a:gd name="T1" fmla="*/ 26 h 52"/>
                <a:gd name="T2" fmla="*/ 49 w 50"/>
                <a:gd name="T3" fmla="*/ 35 h 52"/>
                <a:gd name="T4" fmla="*/ 42 w 50"/>
                <a:gd name="T5" fmla="*/ 45 h 52"/>
                <a:gd name="T6" fmla="*/ 35 w 50"/>
                <a:gd name="T7" fmla="*/ 51 h 52"/>
                <a:gd name="T8" fmla="*/ 25 w 50"/>
                <a:gd name="T9" fmla="*/ 52 h 52"/>
                <a:gd name="T10" fmla="*/ 16 w 50"/>
                <a:gd name="T11" fmla="*/ 51 h 52"/>
                <a:gd name="T12" fmla="*/ 8 w 50"/>
                <a:gd name="T13" fmla="*/ 45 h 52"/>
                <a:gd name="T14" fmla="*/ 1 w 50"/>
                <a:gd name="T15" fmla="*/ 35 h 52"/>
                <a:gd name="T16" fmla="*/ 0 w 50"/>
                <a:gd name="T17" fmla="*/ 26 h 52"/>
                <a:gd name="T18" fmla="*/ 1 w 50"/>
                <a:gd name="T19" fmla="*/ 16 h 52"/>
                <a:gd name="T20" fmla="*/ 8 w 50"/>
                <a:gd name="T21" fmla="*/ 8 h 52"/>
                <a:gd name="T22" fmla="*/ 16 w 50"/>
                <a:gd name="T23" fmla="*/ 2 h 52"/>
                <a:gd name="T24" fmla="*/ 25 w 50"/>
                <a:gd name="T25" fmla="*/ 0 h 52"/>
                <a:gd name="T26" fmla="*/ 35 w 50"/>
                <a:gd name="T27" fmla="*/ 2 h 52"/>
                <a:gd name="T28" fmla="*/ 42 w 50"/>
                <a:gd name="T29" fmla="*/ 8 h 52"/>
                <a:gd name="T30" fmla="*/ 49 w 50"/>
                <a:gd name="T31" fmla="*/ 16 h 52"/>
                <a:gd name="T32" fmla="*/ 50 w 50"/>
                <a:gd name="T33" fmla="*/ 26 h 5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0"/>
                <a:gd name="T52" fmla="*/ 0 h 52"/>
                <a:gd name="T53" fmla="*/ 50 w 50"/>
                <a:gd name="T54" fmla="*/ 52 h 5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0" h="52">
                  <a:moveTo>
                    <a:pt x="50" y="26"/>
                  </a:moveTo>
                  <a:lnTo>
                    <a:pt x="49" y="35"/>
                  </a:lnTo>
                  <a:lnTo>
                    <a:pt x="42" y="45"/>
                  </a:lnTo>
                  <a:lnTo>
                    <a:pt x="35" y="51"/>
                  </a:lnTo>
                  <a:lnTo>
                    <a:pt x="25" y="52"/>
                  </a:lnTo>
                  <a:lnTo>
                    <a:pt x="16" y="51"/>
                  </a:lnTo>
                  <a:lnTo>
                    <a:pt x="8" y="45"/>
                  </a:lnTo>
                  <a:lnTo>
                    <a:pt x="1" y="35"/>
                  </a:lnTo>
                  <a:lnTo>
                    <a:pt x="0" y="26"/>
                  </a:lnTo>
                  <a:lnTo>
                    <a:pt x="1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5" y="2"/>
                  </a:lnTo>
                  <a:lnTo>
                    <a:pt x="42" y="8"/>
                  </a:lnTo>
                  <a:lnTo>
                    <a:pt x="49" y="16"/>
                  </a:lnTo>
                  <a:lnTo>
                    <a:pt x="50" y="26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42">
              <a:extLst>
                <a:ext uri="{FF2B5EF4-FFF2-40B4-BE49-F238E27FC236}">
                  <a16:creationId xmlns:a16="http://schemas.microsoft.com/office/drawing/2014/main" id="{9714DA92-A5D2-E917-3CD2-A494F6404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2589"/>
              <a:ext cx="409" cy="203"/>
            </a:xfrm>
            <a:custGeom>
              <a:avLst/>
              <a:gdLst>
                <a:gd name="T0" fmla="*/ 409 w 409"/>
                <a:gd name="T1" fmla="*/ 203 h 203"/>
                <a:gd name="T2" fmla="*/ 403 w 409"/>
                <a:gd name="T3" fmla="*/ 162 h 203"/>
                <a:gd name="T4" fmla="*/ 390 w 409"/>
                <a:gd name="T5" fmla="*/ 123 h 203"/>
                <a:gd name="T6" fmla="*/ 371 w 409"/>
                <a:gd name="T7" fmla="*/ 90 h 203"/>
                <a:gd name="T8" fmla="*/ 346 w 409"/>
                <a:gd name="T9" fmla="*/ 58 h 203"/>
                <a:gd name="T10" fmla="*/ 316 w 409"/>
                <a:gd name="T11" fmla="*/ 35 h 203"/>
                <a:gd name="T12" fmla="*/ 281 w 409"/>
                <a:gd name="T13" fmla="*/ 16 h 203"/>
                <a:gd name="T14" fmla="*/ 245 w 409"/>
                <a:gd name="T15" fmla="*/ 5 h 203"/>
                <a:gd name="T16" fmla="*/ 204 w 409"/>
                <a:gd name="T17" fmla="*/ 0 h 203"/>
                <a:gd name="T18" fmla="*/ 164 w 409"/>
                <a:gd name="T19" fmla="*/ 5 h 203"/>
                <a:gd name="T20" fmla="*/ 127 w 409"/>
                <a:gd name="T21" fmla="*/ 16 h 203"/>
                <a:gd name="T22" fmla="*/ 93 w 409"/>
                <a:gd name="T23" fmla="*/ 35 h 203"/>
                <a:gd name="T24" fmla="*/ 63 w 409"/>
                <a:gd name="T25" fmla="*/ 58 h 203"/>
                <a:gd name="T26" fmla="*/ 38 w 409"/>
                <a:gd name="T27" fmla="*/ 90 h 203"/>
                <a:gd name="T28" fmla="*/ 19 w 409"/>
                <a:gd name="T29" fmla="*/ 123 h 203"/>
                <a:gd name="T30" fmla="*/ 7 w 409"/>
                <a:gd name="T31" fmla="*/ 162 h 203"/>
                <a:gd name="T32" fmla="*/ 0 w 409"/>
                <a:gd name="T33" fmla="*/ 203 h 203"/>
                <a:gd name="T34" fmla="*/ 409 w 409"/>
                <a:gd name="T35" fmla="*/ 203 h 20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09"/>
                <a:gd name="T55" fmla="*/ 0 h 203"/>
                <a:gd name="T56" fmla="*/ 409 w 409"/>
                <a:gd name="T57" fmla="*/ 203 h 20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09" h="203">
                  <a:moveTo>
                    <a:pt x="409" y="203"/>
                  </a:moveTo>
                  <a:lnTo>
                    <a:pt x="403" y="162"/>
                  </a:lnTo>
                  <a:lnTo>
                    <a:pt x="390" y="123"/>
                  </a:lnTo>
                  <a:lnTo>
                    <a:pt x="371" y="90"/>
                  </a:lnTo>
                  <a:lnTo>
                    <a:pt x="346" y="58"/>
                  </a:lnTo>
                  <a:lnTo>
                    <a:pt x="316" y="35"/>
                  </a:lnTo>
                  <a:lnTo>
                    <a:pt x="281" y="16"/>
                  </a:lnTo>
                  <a:lnTo>
                    <a:pt x="245" y="5"/>
                  </a:lnTo>
                  <a:lnTo>
                    <a:pt x="204" y="0"/>
                  </a:lnTo>
                  <a:lnTo>
                    <a:pt x="164" y="5"/>
                  </a:lnTo>
                  <a:lnTo>
                    <a:pt x="127" y="16"/>
                  </a:lnTo>
                  <a:lnTo>
                    <a:pt x="93" y="35"/>
                  </a:lnTo>
                  <a:lnTo>
                    <a:pt x="63" y="58"/>
                  </a:lnTo>
                  <a:lnTo>
                    <a:pt x="38" y="90"/>
                  </a:lnTo>
                  <a:lnTo>
                    <a:pt x="19" y="123"/>
                  </a:lnTo>
                  <a:lnTo>
                    <a:pt x="7" y="162"/>
                  </a:lnTo>
                  <a:lnTo>
                    <a:pt x="0" y="203"/>
                  </a:lnTo>
                  <a:lnTo>
                    <a:pt x="409" y="203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BD0E2100-1118-1711-1535-B320D7E6B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2" y="2740"/>
              <a:ext cx="605" cy="177"/>
            </a:xfrm>
            <a:custGeom>
              <a:avLst/>
              <a:gdLst>
                <a:gd name="T0" fmla="*/ 586 w 605"/>
                <a:gd name="T1" fmla="*/ 0 h 177"/>
                <a:gd name="T2" fmla="*/ 0 w 605"/>
                <a:gd name="T3" fmla="*/ 0 h 177"/>
                <a:gd name="T4" fmla="*/ 0 w 605"/>
                <a:gd name="T5" fmla="*/ 177 h 177"/>
                <a:gd name="T6" fmla="*/ 605 w 605"/>
                <a:gd name="T7" fmla="*/ 177 h 177"/>
                <a:gd name="T8" fmla="*/ 605 w 605"/>
                <a:gd name="T9" fmla="*/ 0 h 177"/>
                <a:gd name="T10" fmla="*/ 586 w 605"/>
                <a:gd name="T11" fmla="*/ 0 h 1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05"/>
                <a:gd name="T19" fmla="*/ 0 h 177"/>
                <a:gd name="T20" fmla="*/ 605 w 605"/>
                <a:gd name="T21" fmla="*/ 177 h 1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05" h="177">
                  <a:moveTo>
                    <a:pt x="586" y="0"/>
                  </a:moveTo>
                  <a:lnTo>
                    <a:pt x="0" y="0"/>
                  </a:lnTo>
                  <a:lnTo>
                    <a:pt x="0" y="177"/>
                  </a:lnTo>
                  <a:lnTo>
                    <a:pt x="605" y="177"/>
                  </a:lnTo>
                  <a:lnTo>
                    <a:pt x="605" y="0"/>
                  </a:lnTo>
                  <a:lnTo>
                    <a:pt x="586" y="0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735DAE94-7D63-6F5D-793E-0D7E393F3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2777"/>
              <a:ext cx="532" cy="102"/>
            </a:xfrm>
            <a:custGeom>
              <a:avLst/>
              <a:gdLst>
                <a:gd name="T0" fmla="*/ 532 w 532"/>
                <a:gd name="T1" fmla="*/ 0 h 102"/>
                <a:gd name="T2" fmla="*/ 532 w 532"/>
                <a:gd name="T3" fmla="*/ 22 h 102"/>
                <a:gd name="T4" fmla="*/ 532 w 532"/>
                <a:gd name="T5" fmla="*/ 50 h 102"/>
                <a:gd name="T6" fmla="*/ 532 w 532"/>
                <a:gd name="T7" fmla="*/ 80 h 102"/>
                <a:gd name="T8" fmla="*/ 532 w 532"/>
                <a:gd name="T9" fmla="*/ 102 h 102"/>
                <a:gd name="T10" fmla="*/ 521 w 532"/>
                <a:gd name="T11" fmla="*/ 102 h 102"/>
                <a:gd name="T12" fmla="*/ 500 w 532"/>
                <a:gd name="T13" fmla="*/ 102 h 102"/>
                <a:gd name="T14" fmla="*/ 474 w 532"/>
                <a:gd name="T15" fmla="*/ 102 h 102"/>
                <a:gd name="T16" fmla="*/ 439 w 532"/>
                <a:gd name="T17" fmla="*/ 102 h 102"/>
                <a:gd name="T18" fmla="*/ 401 w 532"/>
                <a:gd name="T19" fmla="*/ 102 h 102"/>
                <a:gd name="T20" fmla="*/ 358 w 532"/>
                <a:gd name="T21" fmla="*/ 102 h 102"/>
                <a:gd name="T22" fmla="*/ 313 w 532"/>
                <a:gd name="T23" fmla="*/ 102 h 102"/>
                <a:gd name="T24" fmla="*/ 267 w 532"/>
                <a:gd name="T25" fmla="*/ 102 h 102"/>
                <a:gd name="T26" fmla="*/ 220 w 532"/>
                <a:gd name="T27" fmla="*/ 102 h 102"/>
                <a:gd name="T28" fmla="*/ 174 w 532"/>
                <a:gd name="T29" fmla="*/ 102 h 102"/>
                <a:gd name="T30" fmla="*/ 131 w 532"/>
                <a:gd name="T31" fmla="*/ 102 h 102"/>
                <a:gd name="T32" fmla="*/ 94 w 532"/>
                <a:gd name="T33" fmla="*/ 102 h 102"/>
                <a:gd name="T34" fmla="*/ 59 w 532"/>
                <a:gd name="T35" fmla="*/ 102 h 102"/>
                <a:gd name="T36" fmla="*/ 32 w 532"/>
                <a:gd name="T37" fmla="*/ 102 h 102"/>
                <a:gd name="T38" fmla="*/ 12 w 532"/>
                <a:gd name="T39" fmla="*/ 102 h 102"/>
                <a:gd name="T40" fmla="*/ 0 w 532"/>
                <a:gd name="T41" fmla="*/ 102 h 102"/>
                <a:gd name="T42" fmla="*/ 0 w 532"/>
                <a:gd name="T43" fmla="*/ 80 h 102"/>
                <a:gd name="T44" fmla="*/ 0 w 532"/>
                <a:gd name="T45" fmla="*/ 50 h 102"/>
                <a:gd name="T46" fmla="*/ 0 w 532"/>
                <a:gd name="T47" fmla="*/ 22 h 102"/>
                <a:gd name="T48" fmla="*/ 0 w 532"/>
                <a:gd name="T49" fmla="*/ 0 h 102"/>
                <a:gd name="T50" fmla="*/ 12 w 532"/>
                <a:gd name="T51" fmla="*/ 0 h 102"/>
                <a:gd name="T52" fmla="*/ 32 w 532"/>
                <a:gd name="T53" fmla="*/ 0 h 102"/>
                <a:gd name="T54" fmla="*/ 59 w 532"/>
                <a:gd name="T55" fmla="*/ 0 h 102"/>
                <a:gd name="T56" fmla="*/ 94 w 532"/>
                <a:gd name="T57" fmla="*/ 0 h 102"/>
                <a:gd name="T58" fmla="*/ 131 w 532"/>
                <a:gd name="T59" fmla="*/ 0 h 102"/>
                <a:gd name="T60" fmla="*/ 174 w 532"/>
                <a:gd name="T61" fmla="*/ 0 h 102"/>
                <a:gd name="T62" fmla="*/ 220 w 532"/>
                <a:gd name="T63" fmla="*/ 0 h 102"/>
                <a:gd name="T64" fmla="*/ 267 w 532"/>
                <a:gd name="T65" fmla="*/ 0 h 102"/>
                <a:gd name="T66" fmla="*/ 313 w 532"/>
                <a:gd name="T67" fmla="*/ 0 h 102"/>
                <a:gd name="T68" fmla="*/ 358 w 532"/>
                <a:gd name="T69" fmla="*/ 0 h 102"/>
                <a:gd name="T70" fmla="*/ 401 w 532"/>
                <a:gd name="T71" fmla="*/ 0 h 102"/>
                <a:gd name="T72" fmla="*/ 439 w 532"/>
                <a:gd name="T73" fmla="*/ 0 h 102"/>
                <a:gd name="T74" fmla="*/ 474 w 532"/>
                <a:gd name="T75" fmla="*/ 0 h 102"/>
                <a:gd name="T76" fmla="*/ 500 w 532"/>
                <a:gd name="T77" fmla="*/ 0 h 102"/>
                <a:gd name="T78" fmla="*/ 521 w 532"/>
                <a:gd name="T79" fmla="*/ 0 h 102"/>
                <a:gd name="T80" fmla="*/ 532 w 532"/>
                <a:gd name="T81" fmla="*/ 0 h 10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32"/>
                <a:gd name="T124" fmla="*/ 0 h 102"/>
                <a:gd name="T125" fmla="*/ 532 w 532"/>
                <a:gd name="T126" fmla="*/ 102 h 10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32" h="102">
                  <a:moveTo>
                    <a:pt x="532" y="0"/>
                  </a:moveTo>
                  <a:lnTo>
                    <a:pt x="532" y="22"/>
                  </a:lnTo>
                  <a:lnTo>
                    <a:pt x="532" y="50"/>
                  </a:lnTo>
                  <a:lnTo>
                    <a:pt x="532" y="80"/>
                  </a:lnTo>
                  <a:lnTo>
                    <a:pt x="532" y="102"/>
                  </a:lnTo>
                  <a:lnTo>
                    <a:pt x="521" y="102"/>
                  </a:lnTo>
                  <a:lnTo>
                    <a:pt x="500" y="102"/>
                  </a:lnTo>
                  <a:lnTo>
                    <a:pt x="474" y="102"/>
                  </a:lnTo>
                  <a:lnTo>
                    <a:pt x="439" y="102"/>
                  </a:lnTo>
                  <a:lnTo>
                    <a:pt x="401" y="102"/>
                  </a:lnTo>
                  <a:lnTo>
                    <a:pt x="358" y="102"/>
                  </a:lnTo>
                  <a:lnTo>
                    <a:pt x="313" y="102"/>
                  </a:lnTo>
                  <a:lnTo>
                    <a:pt x="267" y="102"/>
                  </a:lnTo>
                  <a:lnTo>
                    <a:pt x="220" y="102"/>
                  </a:lnTo>
                  <a:lnTo>
                    <a:pt x="174" y="102"/>
                  </a:lnTo>
                  <a:lnTo>
                    <a:pt x="131" y="102"/>
                  </a:lnTo>
                  <a:lnTo>
                    <a:pt x="94" y="102"/>
                  </a:lnTo>
                  <a:lnTo>
                    <a:pt x="59" y="102"/>
                  </a:lnTo>
                  <a:lnTo>
                    <a:pt x="32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0" y="80"/>
                  </a:lnTo>
                  <a:lnTo>
                    <a:pt x="0" y="50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2" y="0"/>
                  </a:lnTo>
                  <a:lnTo>
                    <a:pt x="59" y="0"/>
                  </a:lnTo>
                  <a:lnTo>
                    <a:pt x="94" y="0"/>
                  </a:lnTo>
                  <a:lnTo>
                    <a:pt x="131" y="0"/>
                  </a:lnTo>
                  <a:lnTo>
                    <a:pt x="174" y="0"/>
                  </a:lnTo>
                  <a:lnTo>
                    <a:pt x="220" y="0"/>
                  </a:lnTo>
                  <a:lnTo>
                    <a:pt x="267" y="0"/>
                  </a:lnTo>
                  <a:lnTo>
                    <a:pt x="313" y="0"/>
                  </a:lnTo>
                  <a:lnTo>
                    <a:pt x="358" y="0"/>
                  </a:lnTo>
                  <a:lnTo>
                    <a:pt x="401" y="0"/>
                  </a:lnTo>
                  <a:lnTo>
                    <a:pt x="439" y="0"/>
                  </a:lnTo>
                  <a:lnTo>
                    <a:pt x="474" y="0"/>
                  </a:lnTo>
                  <a:lnTo>
                    <a:pt x="500" y="0"/>
                  </a:lnTo>
                  <a:lnTo>
                    <a:pt x="521" y="0"/>
                  </a:lnTo>
                  <a:lnTo>
                    <a:pt x="532" y="0"/>
                  </a:lnTo>
                  <a:close/>
                </a:path>
              </a:pathLst>
            </a:custGeom>
            <a:solidFill>
              <a:srgbClr val="E77324"/>
            </a:solidFill>
            <a:ln w="9525">
              <a:solidFill>
                <a:srgbClr val="E7732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0B5C695-6393-70D4-23CB-AA73798EDA4A}"/>
              </a:ext>
            </a:extLst>
          </p:cNvPr>
          <p:cNvGrpSpPr>
            <a:grpSpLocks noChangeAspect="1"/>
          </p:cNvGrpSpPr>
          <p:nvPr/>
        </p:nvGrpSpPr>
        <p:grpSpPr>
          <a:xfrm>
            <a:off x="4148386" y="1913117"/>
            <a:ext cx="850026" cy="867547"/>
            <a:chOff x="825500" y="4670425"/>
            <a:chExt cx="1231900" cy="1257300"/>
          </a:xfrm>
          <a:solidFill>
            <a:schemeClr val="accent1"/>
          </a:solidFill>
        </p:grpSpPr>
        <p:sp>
          <p:nvSpPr>
            <p:cNvPr id="59" name="Rectangle 68">
              <a:extLst>
                <a:ext uri="{FF2B5EF4-FFF2-40B4-BE49-F238E27FC236}">
                  <a16:creationId xmlns:a16="http://schemas.microsoft.com/office/drawing/2014/main" id="{C006303B-6286-0AFA-AAA8-185A9FE0F4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500" y="5734050"/>
              <a:ext cx="12319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69">
              <a:extLst>
                <a:ext uri="{FF2B5EF4-FFF2-40B4-BE49-F238E27FC236}">
                  <a16:creationId xmlns:a16="http://schemas.microsoft.com/office/drawing/2014/main" id="{08FF2A8F-8F62-F016-69BD-33A457D609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500" y="5321300"/>
              <a:ext cx="206375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70">
              <a:extLst>
                <a:ext uri="{FF2B5EF4-FFF2-40B4-BE49-F238E27FC236}">
                  <a16:creationId xmlns:a16="http://schemas.microsoft.com/office/drawing/2014/main" id="{84C63F9C-D48E-3F63-06CC-A0D7002EA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1025" y="5321300"/>
              <a:ext cx="206375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71">
              <a:extLst>
                <a:ext uri="{FF2B5EF4-FFF2-40B4-BE49-F238E27FC236}">
                  <a16:creationId xmlns:a16="http://schemas.microsoft.com/office/drawing/2014/main" id="{E67AFAD0-E6D3-2B10-3D55-C3F1AEF67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0350" y="5321300"/>
              <a:ext cx="1460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Rectangle 72">
              <a:extLst>
                <a:ext uri="{FF2B5EF4-FFF2-40B4-BE49-F238E27FC236}">
                  <a16:creationId xmlns:a16="http://schemas.microsoft.com/office/drawing/2014/main" id="{8B2ED893-A127-3D17-37FC-C55ED853F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500" y="5321300"/>
              <a:ext cx="1460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73">
              <a:extLst>
                <a:ext uri="{FF2B5EF4-FFF2-40B4-BE49-F238E27FC236}">
                  <a16:creationId xmlns:a16="http://schemas.microsoft.com/office/drawing/2014/main" id="{11662197-8D31-9D28-08D2-5466F1916C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500" y="5899150"/>
              <a:ext cx="12319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4">
              <a:extLst>
                <a:ext uri="{FF2B5EF4-FFF2-40B4-BE49-F238E27FC236}">
                  <a16:creationId xmlns:a16="http://schemas.microsoft.com/office/drawing/2014/main" id="{C3BDCF76-4722-E00C-AA8D-428EA0D11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300" y="5235575"/>
              <a:ext cx="1130300" cy="692150"/>
            </a:xfrm>
            <a:custGeom>
              <a:avLst/>
              <a:gdLst>
                <a:gd name="T0" fmla="*/ 0 w 712"/>
                <a:gd name="T1" fmla="*/ 0 h 436"/>
                <a:gd name="T2" fmla="*/ 98 w 712"/>
                <a:gd name="T3" fmla="*/ 212 h 436"/>
                <a:gd name="T4" fmla="*/ 106 w 712"/>
                <a:gd name="T5" fmla="*/ 244 h 436"/>
                <a:gd name="T6" fmla="*/ 130 w 712"/>
                <a:gd name="T7" fmla="*/ 264 h 436"/>
                <a:gd name="T8" fmla="*/ 152 w 712"/>
                <a:gd name="T9" fmla="*/ 268 h 436"/>
                <a:gd name="T10" fmla="*/ 184 w 712"/>
                <a:gd name="T11" fmla="*/ 258 h 436"/>
                <a:gd name="T12" fmla="*/ 204 w 712"/>
                <a:gd name="T13" fmla="*/ 234 h 436"/>
                <a:gd name="T14" fmla="*/ 208 w 712"/>
                <a:gd name="T15" fmla="*/ 0 h 436"/>
                <a:gd name="T16" fmla="*/ 300 w 712"/>
                <a:gd name="T17" fmla="*/ 212 h 436"/>
                <a:gd name="T18" fmla="*/ 310 w 712"/>
                <a:gd name="T19" fmla="*/ 244 h 436"/>
                <a:gd name="T20" fmla="*/ 334 w 712"/>
                <a:gd name="T21" fmla="*/ 264 h 436"/>
                <a:gd name="T22" fmla="*/ 356 w 712"/>
                <a:gd name="T23" fmla="*/ 268 h 436"/>
                <a:gd name="T24" fmla="*/ 386 w 712"/>
                <a:gd name="T25" fmla="*/ 258 h 436"/>
                <a:gd name="T26" fmla="*/ 406 w 712"/>
                <a:gd name="T27" fmla="*/ 234 h 436"/>
                <a:gd name="T28" fmla="*/ 412 w 712"/>
                <a:gd name="T29" fmla="*/ 0 h 436"/>
                <a:gd name="T30" fmla="*/ 504 w 712"/>
                <a:gd name="T31" fmla="*/ 212 h 436"/>
                <a:gd name="T32" fmla="*/ 514 w 712"/>
                <a:gd name="T33" fmla="*/ 244 h 436"/>
                <a:gd name="T34" fmla="*/ 538 w 712"/>
                <a:gd name="T35" fmla="*/ 264 h 436"/>
                <a:gd name="T36" fmla="*/ 560 w 712"/>
                <a:gd name="T37" fmla="*/ 268 h 436"/>
                <a:gd name="T38" fmla="*/ 590 w 712"/>
                <a:gd name="T39" fmla="*/ 258 h 436"/>
                <a:gd name="T40" fmla="*/ 610 w 712"/>
                <a:gd name="T41" fmla="*/ 234 h 436"/>
                <a:gd name="T42" fmla="*/ 614 w 712"/>
                <a:gd name="T43" fmla="*/ 0 h 436"/>
                <a:gd name="T44" fmla="*/ 18 w 712"/>
                <a:gd name="T45" fmla="*/ 418 h 436"/>
                <a:gd name="T46" fmla="*/ 632 w 712"/>
                <a:gd name="T47" fmla="*/ 18 h 436"/>
                <a:gd name="T48" fmla="*/ 632 w 712"/>
                <a:gd name="T49" fmla="*/ 228 h 436"/>
                <a:gd name="T50" fmla="*/ 612 w 712"/>
                <a:gd name="T51" fmla="*/ 264 h 436"/>
                <a:gd name="T52" fmla="*/ 574 w 712"/>
                <a:gd name="T53" fmla="*/ 284 h 436"/>
                <a:gd name="T54" fmla="*/ 544 w 712"/>
                <a:gd name="T55" fmla="*/ 284 h 436"/>
                <a:gd name="T56" fmla="*/ 508 w 712"/>
                <a:gd name="T57" fmla="*/ 264 h 436"/>
                <a:gd name="T58" fmla="*/ 488 w 712"/>
                <a:gd name="T59" fmla="*/ 228 h 436"/>
                <a:gd name="T60" fmla="*/ 430 w 712"/>
                <a:gd name="T61" fmla="*/ 18 h 436"/>
                <a:gd name="T62" fmla="*/ 428 w 712"/>
                <a:gd name="T63" fmla="*/ 228 h 436"/>
                <a:gd name="T64" fmla="*/ 408 w 712"/>
                <a:gd name="T65" fmla="*/ 264 h 436"/>
                <a:gd name="T66" fmla="*/ 370 w 712"/>
                <a:gd name="T67" fmla="*/ 284 h 436"/>
                <a:gd name="T68" fmla="*/ 342 w 712"/>
                <a:gd name="T69" fmla="*/ 284 h 436"/>
                <a:gd name="T70" fmla="*/ 304 w 712"/>
                <a:gd name="T71" fmla="*/ 264 h 436"/>
                <a:gd name="T72" fmla="*/ 284 w 712"/>
                <a:gd name="T73" fmla="*/ 228 h 436"/>
                <a:gd name="T74" fmla="*/ 226 w 712"/>
                <a:gd name="T75" fmla="*/ 18 h 436"/>
                <a:gd name="T76" fmla="*/ 224 w 712"/>
                <a:gd name="T77" fmla="*/ 228 h 436"/>
                <a:gd name="T78" fmla="*/ 204 w 712"/>
                <a:gd name="T79" fmla="*/ 264 h 436"/>
                <a:gd name="T80" fmla="*/ 168 w 712"/>
                <a:gd name="T81" fmla="*/ 284 h 436"/>
                <a:gd name="T82" fmla="*/ 138 w 712"/>
                <a:gd name="T83" fmla="*/ 284 h 436"/>
                <a:gd name="T84" fmla="*/ 100 w 712"/>
                <a:gd name="T85" fmla="*/ 264 h 436"/>
                <a:gd name="T86" fmla="*/ 80 w 712"/>
                <a:gd name="T87" fmla="*/ 228 h 436"/>
                <a:gd name="T88" fmla="*/ 18 w 712"/>
                <a:gd name="T89" fmla="*/ 18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12" h="436">
                  <a:moveTo>
                    <a:pt x="712" y="436"/>
                  </a:moveTo>
                  <a:lnTo>
                    <a:pt x="0" y="436"/>
                  </a:lnTo>
                  <a:lnTo>
                    <a:pt x="0" y="0"/>
                  </a:lnTo>
                  <a:lnTo>
                    <a:pt x="98" y="0"/>
                  </a:lnTo>
                  <a:lnTo>
                    <a:pt x="98" y="212"/>
                  </a:lnTo>
                  <a:lnTo>
                    <a:pt x="98" y="212"/>
                  </a:lnTo>
                  <a:lnTo>
                    <a:pt x="98" y="224"/>
                  </a:lnTo>
                  <a:lnTo>
                    <a:pt x="102" y="234"/>
                  </a:lnTo>
                  <a:lnTo>
                    <a:pt x="106" y="244"/>
                  </a:lnTo>
                  <a:lnTo>
                    <a:pt x="114" y="252"/>
                  </a:lnTo>
                  <a:lnTo>
                    <a:pt x="122" y="258"/>
                  </a:lnTo>
                  <a:lnTo>
                    <a:pt x="130" y="264"/>
                  </a:lnTo>
                  <a:lnTo>
                    <a:pt x="142" y="266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64" y="266"/>
                  </a:lnTo>
                  <a:lnTo>
                    <a:pt x="174" y="264"/>
                  </a:lnTo>
                  <a:lnTo>
                    <a:pt x="184" y="258"/>
                  </a:lnTo>
                  <a:lnTo>
                    <a:pt x="192" y="252"/>
                  </a:lnTo>
                  <a:lnTo>
                    <a:pt x="198" y="244"/>
                  </a:lnTo>
                  <a:lnTo>
                    <a:pt x="204" y="234"/>
                  </a:lnTo>
                  <a:lnTo>
                    <a:pt x="206" y="224"/>
                  </a:lnTo>
                  <a:lnTo>
                    <a:pt x="208" y="212"/>
                  </a:lnTo>
                  <a:lnTo>
                    <a:pt x="208" y="0"/>
                  </a:lnTo>
                  <a:lnTo>
                    <a:pt x="300" y="0"/>
                  </a:lnTo>
                  <a:lnTo>
                    <a:pt x="300" y="212"/>
                  </a:lnTo>
                  <a:lnTo>
                    <a:pt x="300" y="212"/>
                  </a:lnTo>
                  <a:lnTo>
                    <a:pt x="302" y="224"/>
                  </a:lnTo>
                  <a:lnTo>
                    <a:pt x="306" y="234"/>
                  </a:lnTo>
                  <a:lnTo>
                    <a:pt x="310" y="244"/>
                  </a:lnTo>
                  <a:lnTo>
                    <a:pt x="316" y="252"/>
                  </a:lnTo>
                  <a:lnTo>
                    <a:pt x="326" y="258"/>
                  </a:lnTo>
                  <a:lnTo>
                    <a:pt x="334" y="264"/>
                  </a:lnTo>
                  <a:lnTo>
                    <a:pt x="344" y="266"/>
                  </a:lnTo>
                  <a:lnTo>
                    <a:pt x="356" y="268"/>
                  </a:lnTo>
                  <a:lnTo>
                    <a:pt x="356" y="268"/>
                  </a:lnTo>
                  <a:lnTo>
                    <a:pt x="368" y="266"/>
                  </a:lnTo>
                  <a:lnTo>
                    <a:pt x="378" y="264"/>
                  </a:lnTo>
                  <a:lnTo>
                    <a:pt x="386" y="258"/>
                  </a:lnTo>
                  <a:lnTo>
                    <a:pt x="394" y="252"/>
                  </a:lnTo>
                  <a:lnTo>
                    <a:pt x="402" y="244"/>
                  </a:lnTo>
                  <a:lnTo>
                    <a:pt x="406" y="234"/>
                  </a:lnTo>
                  <a:lnTo>
                    <a:pt x="410" y="224"/>
                  </a:lnTo>
                  <a:lnTo>
                    <a:pt x="412" y="212"/>
                  </a:lnTo>
                  <a:lnTo>
                    <a:pt x="412" y="0"/>
                  </a:lnTo>
                  <a:lnTo>
                    <a:pt x="504" y="0"/>
                  </a:lnTo>
                  <a:lnTo>
                    <a:pt x="504" y="212"/>
                  </a:lnTo>
                  <a:lnTo>
                    <a:pt x="504" y="212"/>
                  </a:lnTo>
                  <a:lnTo>
                    <a:pt x="506" y="224"/>
                  </a:lnTo>
                  <a:lnTo>
                    <a:pt x="508" y="234"/>
                  </a:lnTo>
                  <a:lnTo>
                    <a:pt x="514" y="244"/>
                  </a:lnTo>
                  <a:lnTo>
                    <a:pt x="520" y="252"/>
                  </a:lnTo>
                  <a:lnTo>
                    <a:pt x="528" y="258"/>
                  </a:lnTo>
                  <a:lnTo>
                    <a:pt x="538" y="264"/>
                  </a:lnTo>
                  <a:lnTo>
                    <a:pt x="548" y="266"/>
                  </a:lnTo>
                  <a:lnTo>
                    <a:pt x="560" y="268"/>
                  </a:lnTo>
                  <a:lnTo>
                    <a:pt x="560" y="268"/>
                  </a:lnTo>
                  <a:lnTo>
                    <a:pt x="570" y="266"/>
                  </a:lnTo>
                  <a:lnTo>
                    <a:pt x="582" y="264"/>
                  </a:lnTo>
                  <a:lnTo>
                    <a:pt x="590" y="258"/>
                  </a:lnTo>
                  <a:lnTo>
                    <a:pt x="598" y="252"/>
                  </a:lnTo>
                  <a:lnTo>
                    <a:pt x="606" y="244"/>
                  </a:lnTo>
                  <a:lnTo>
                    <a:pt x="610" y="234"/>
                  </a:lnTo>
                  <a:lnTo>
                    <a:pt x="614" y="224"/>
                  </a:lnTo>
                  <a:lnTo>
                    <a:pt x="614" y="212"/>
                  </a:lnTo>
                  <a:lnTo>
                    <a:pt x="614" y="0"/>
                  </a:lnTo>
                  <a:lnTo>
                    <a:pt x="712" y="0"/>
                  </a:lnTo>
                  <a:lnTo>
                    <a:pt x="712" y="436"/>
                  </a:lnTo>
                  <a:close/>
                  <a:moveTo>
                    <a:pt x="18" y="418"/>
                  </a:moveTo>
                  <a:lnTo>
                    <a:pt x="694" y="418"/>
                  </a:lnTo>
                  <a:lnTo>
                    <a:pt x="694" y="18"/>
                  </a:lnTo>
                  <a:lnTo>
                    <a:pt x="632" y="18"/>
                  </a:lnTo>
                  <a:lnTo>
                    <a:pt x="632" y="212"/>
                  </a:lnTo>
                  <a:lnTo>
                    <a:pt x="632" y="212"/>
                  </a:lnTo>
                  <a:lnTo>
                    <a:pt x="632" y="228"/>
                  </a:lnTo>
                  <a:lnTo>
                    <a:pt x="626" y="242"/>
                  </a:lnTo>
                  <a:lnTo>
                    <a:pt x="620" y="254"/>
                  </a:lnTo>
                  <a:lnTo>
                    <a:pt x="612" y="264"/>
                  </a:lnTo>
                  <a:lnTo>
                    <a:pt x="600" y="274"/>
                  </a:lnTo>
                  <a:lnTo>
                    <a:pt x="588" y="280"/>
                  </a:lnTo>
                  <a:lnTo>
                    <a:pt x="574" y="284"/>
                  </a:lnTo>
                  <a:lnTo>
                    <a:pt x="560" y="286"/>
                  </a:lnTo>
                  <a:lnTo>
                    <a:pt x="560" y="286"/>
                  </a:lnTo>
                  <a:lnTo>
                    <a:pt x="544" y="284"/>
                  </a:lnTo>
                  <a:lnTo>
                    <a:pt x="532" y="280"/>
                  </a:lnTo>
                  <a:lnTo>
                    <a:pt x="518" y="274"/>
                  </a:lnTo>
                  <a:lnTo>
                    <a:pt x="508" y="264"/>
                  </a:lnTo>
                  <a:lnTo>
                    <a:pt x="498" y="254"/>
                  </a:lnTo>
                  <a:lnTo>
                    <a:pt x="492" y="242"/>
                  </a:lnTo>
                  <a:lnTo>
                    <a:pt x="488" y="228"/>
                  </a:lnTo>
                  <a:lnTo>
                    <a:pt x="486" y="212"/>
                  </a:lnTo>
                  <a:lnTo>
                    <a:pt x="486" y="18"/>
                  </a:lnTo>
                  <a:lnTo>
                    <a:pt x="430" y="18"/>
                  </a:lnTo>
                  <a:lnTo>
                    <a:pt x="430" y="212"/>
                  </a:lnTo>
                  <a:lnTo>
                    <a:pt x="430" y="212"/>
                  </a:lnTo>
                  <a:lnTo>
                    <a:pt x="428" y="228"/>
                  </a:lnTo>
                  <a:lnTo>
                    <a:pt x="424" y="242"/>
                  </a:lnTo>
                  <a:lnTo>
                    <a:pt x="416" y="254"/>
                  </a:lnTo>
                  <a:lnTo>
                    <a:pt x="408" y="264"/>
                  </a:lnTo>
                  <a:lnTo>
                    <a:pt x="396" y="274"/>
                  </a:lnTo>
                  <a:lnTo>
                    <a:pt x="384" y="280"/>
                  </a:lnTo>
                  <a:lnTo>
                    <a:pt x="370" y="284"/>
                  </a:lnTo>
                  <a:lnTo>
                    <a:pt x="356" y="286"/>
                  </a:lnTo>
                  <a:lnTo>
                    <a:pt x="356" y="286"/>
                  </a:lnTo>
                  <a:lnTo>
                    <a:pt x="342" y="284"/>
                  </a:lnTo>
                  <a:lnTo>
                    <a:pt x="328" y="280"/>
                  </a:lnTo>
                  <a:lnTo>
                    <a:pt x="316" y="274"/>
                  </a:lnTo>
                  <a:lnTo>
                    <a:pt x="304" y="264"/>
                  </a:lnTo>
                  <a:lnTo>
                    <a:pt x="296" y="254"/>
                  </a:lnTo>
                  <a:lnTo>
                    <a:pt x="288" y="242"/>
                  </a:lnTo>
                  <a:lnTo>
                    <a:pt x="284" y="228"/>
                  </a:lnTo>
                  <a:lnTo>
                    <a:pt x="282" y="212"/>
                  </a:lnTo>
                  <a:lnTo>
                    <a:pt x="282" y="18"/>
                  </a:lnTo>
                  <a:lnTo>
                    <a:pt x="226" y="18"/>
                  </a:lnTo>
                  <a:lnTo>
                    <a:pt x="226" y="212"/>
                  </a:lnTo>
                  <a:lnTo>
                    <a:pt x="226" y="212"/>
                  </a:lnTo>
                  <a:lnTo>
                    <a:pt x="224" y="228"/>
                  </a:lnTo>
                  <a:lnTo>
                    <a:pt x="220" y="242"/>
                  </a:lnTo>
                  <a:lnTo>
                    <a:pt x="214" y="254"/>
                  </a:lnTo>
                  <a:lnTo>
                    <a:pt x="204" y="264"/>
                  </a:lnTo>
                  <a:lnTo>
                    <a:pt x="194" y="274"/>
                  </a:lnTo>
                  <a:lnTo>
                    <a:pt x="180" y="280"/>
                  </a:lnTo>
                  <a:lnTo>
                    <a:pt x="168" y="284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38" y="284"/>
                  </a:lnTo>
                  <a:lnTo>
                    <a:pt x="124" y="280"/>
                  </a:lnTo>
                  <a:lnTo>
                    <a:pt x="112" y="274"/>
                  </a:lnTo>
                  <a:lnTo>
                    <a:pt x="100" y="264"/>
                  </a:lnTo>
                  <a:lnTo>
                    <a:pt x="92" y="254"/>
                  </a:lnTo>
                  <a:lnTo>
                    <a:pt x="84" y="242"/>
                  </a:lnTo>
                  <a:lnTo>
                    <a:pt x="80" y="228"/>
                  </a:lnTo>
                  <a:lnTo>
                    <a:pt x="80" y="212"/>
                  </a:lnTo>
                  <a:lnTo>
                    <a:pt x="80" y="18"/>
                  </a:lnTo>
                  <a:lnTo>
                    <a:pt x="18" y="18"/>
                  </a:lnTo>
                  <a:lnTo>
                    <a:pt x="18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5">
              <a:extLst>
                <a:ext uri="{FF2B5EF4-FFF2-40B4-BE49-F238E27FC236}">
                  <a16:creationId xmlns:a16="http://schemas.microsoft.com/office/drawing/2014/main" id="{30987598-BC4C-4CCF-8762-DBDF92AC4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4968875"/>
              <a:ext cx="231775" cy="295275"/>
            </a:xfrm>
            <a:custGeom>
              <a:avLst/>
              <a:gdLst>
                <a:gd name="T0" fmla="*/ 146 w 146"/>
                <a:gd name="T1" fmla="*/ 186 h 186"/>
                <a:gd name="T2" fmla="*/ 128 w 146"/>
                <a:gd name="T3" fmla="*/ 186 h 186"/>
                <a:gd name="T4" fmla="*/ 128 w 146"/>
                <a:gd name="T5" fmla="*/ 18 h 186"/>
                <a:gd name="T6" fmla="*/ 18 w 146"/>
                <a:gd name="T7" fmla="*/ 18 h 186"/>
                <a:gd name="T8" fmla="*/ 18 w 146"/>
                <a:gd name="T9" fmla="*/ 186 h 186"/>
                <a:gd name="T10" fmla="*/ 0 w 146"/>
                <a:gd name="T11" fmla="*/ 186 h 186"/>
                <a:gd name="T12" fmla="*/ 0 w 146"/>
                <a:gd name="T13" fmla="*/ 0 h 186"/>
                <a:gd name="T14" fmla="*/ 146 w 146"/>
                <a:gd name="T15" fmla="*/ 0 h 186"/>
                <a:gd name="T16" fmla="*/ 146 w 146"/>
                <a:gd name="T17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186">
                  <a:moveTo>
                    <a:pt x="146" y="186"/>
                  </a:moveTo>
                  <a:lnTo>
                    <a:pt x="128" y="186"/>
                  </a:lnTo>
                  <a:lnTo>
                    <a:pt x="128" y="18"/>
                  </a:lnTo>
                  <a:lnTo>
                    <a:pt x="18" y="18"/>
                  </a:lnTo>
                  <a:lnTo>
                    <a:pt x="18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76">
              <a:extLst>
                <a:ext uri="{FF2B5EF4-FFF2-40B4-BE49-F238E27FC236}">
                  <a16:creationId xmlns:a16="http://schemas.microsoft.com/office/drawing/2014/main" id="{9CA48D7A-4C77-D74A-F0CE-139C9369F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5" y="4968875"/>
              <a:ext cx="234950" cy="295275"/>
            </a:xfrm>
            <a:custGeom>
              <a:avLst/>
              <a:gdLst>
                <a:gd name="T0" fmla="*/ 148 w 148"/>
                <a:gd name="T1" fmla="*/ 186 h 186"/>
                <a:gd name="T2" fmla="*/ 130 w 148"/>
                <a:gd name="T3" fmla="*/ 186 h 186"/>
                <a:gd name="T4" fmla="*/ 130 w 148"/>
                <a:gd name="T5" fmla="*/ 18 h 186"/>
                <a:gd name="T6" fmla="*/ 18 w 148"/>
                <a:gd name="T7" fmla="*/ 18 h 186"/>
                <a:gd name="T8" fmla="*/ 18 w 148"/>
                <a:gd name="T9" fmla="*/ 186 h 186"/>
                <a:gd name="T10" fmla="*/ 0 w 148"/>
                <a:gd name="T11" fmla="*/ 186 h 186"/>
                <a:gd name="T12" fmla="*/ 0 w 148"/>
                <a:gd name="T13" fmla="*/ 0 h 186"/>
                <a:gd name="T14" fmla="*/ 148 w 148"/>
                <a:gd name="T15" fmla="*/ 0 h 186"/>
                <a:gd name="T16" fmla="*/ 148 w 148"/>
                <a:gd name="T17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186">
                  <a:moveTo>
                    <a:pt x="148" y="186"/>
                  </a:moveTo>
                  <a:lnTo>
                    <a:pt x="130" y="186"/>
                  </a:lnTo>
                  <a:lnTo>
                    <a:pt x="130" y="18"/>
                  </a:lnTo>
                  <a:lnTo>
                    <a:pt x="18" y="18"/>
                  </a:lnTo>
                  <a:lnTo>
                    <a:pt x="18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77">
              <a:extLst>
                <a:ext uri="{FF2B5EF4-FFF2-40B4-BE49-F238E27FC236}">
                  <a16:creationId xmlns:a16="http://schemas.microsoft.com/office/drawing/2014/main" id="{901E05E4-BEB2-96D9-D45C-165D65C97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7825" y="4968875"/>
              <a:ext cx="231775" cy="295275"/>
            </a:xfrm>
            <a:custGeom>
              <a:avLst/>
              <a:gdLst>
                <a:gd name="T0" fmla="*/ 146 w 146"/>
                <a:gd name="T1" fmla="*/ 186 h 186"/>
                <a:gd name="T2" fmla="*/ 128 w 146"/>
                <a:gd name="T3" fmla="*/ 186 h 186"/>
                <a:gd name="T4" fmla="*/ 128 w 146"/>
                <a:gd name="T5" fmla="*/ 18 h 186"/>
                <a:gd name="T6" fmla="*/ 18 w 146"/>
                <a:gd name="T7" fmla="*/ 18 h 186"/>
                <a:gd name="T8" fmla="*/ 18 w 146"/>
                <a:gd name="T9" fmla="*/ 186 h 186"/>
                <a:gd name="T10" fmla="*/ 0 w 146"/>
                <a:gd name="T11" fmla="*/ 186 h 186"/>
                <a:gd name="T12" fmla="*/ 0 w 146"/>
                <a:gd name="T13" fmla="*/ 0 h 186"/>
                <a:gd name="T14" fmla="*/ 146 w 146"/>
                <a:gd name="T15" fmla="*/ 0 h 186"/>
                <a:gd name="T16" fmla="*/ 146 w 146"/>
                <a:gd name="T17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186">
                  <a:moveTo>
                    <a:pt x="146" y="186"/>
                  </a:moveTo>
                  <a:lnTo>
                    <a:pt x="128" y="186"/>
                  </a:lnTo>
                  <a:lnTo>
                    <a:pt x="128" y="18"/>
                  </a:lnTo>
                  <a:lnTo>
                    <a:pt x="18" y="18"/>
                  </a:lnTo>
                  <a:lnTo>
                    <a:pt x="18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78">
              <a:extLst>
                <a:ext uri="{FF2B5EF4-FFF2-40B4-BE49-F238E27FC236}">
                  <a16:creationId xmlns:a16="http://schemas.microsoft.com/office/drawing/2014/main" id="{0FF04829-1048-845B-2BFE-A4403D2513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600" y="4695825"/>
              <a:ext cx="139700" cy="139700"/>
            </a:xfrm>
            <a:custGeom>
              <a:avLst/>
              <a:gdLst>
                <a:gd name="T0" fmla="*/ 44 w 88"/>
                <a:gd name="T1" fmla="*/ 88 h 88"/>
                <a:gd name="T2" fmla="*/ 44 w 88"/>
                <a:gd name="T3" fmla="*/ 88 h 88"/>
                <a:gd name="T4" fmla="*/ 36 w 88"/>
                <a:gd name="T5" fmla="*/ 86 h 88"/>
                <a:gd name="T6" fmla="*/ 28 w 88"/>
                <a:gd name="T7" fmla="*/ 84 h 88"/>
                <a:gd name="T8" fmla="*/ 20 w 88"/>
                <a:gd name="T9" fmla="*/ 80 h 88"/>
                <a:gd name="T10" fmla="*/ 14 w 88"/>
                <a:gd name="T11" fmla="*/ 74 h 88"/>
                <a:gd name="T12" fmla="*/ 8 w 88"/>
                <a:gd name="T13" fmla="*/ 68 h 88"/>
                <a:gd name="T14" fmla="*/ 4 w 88"/>
                <a:gd name="T15" fmla="*/ 60 h 88"/>
                <a:gd name="T16" fmla="*/ 2 w 88"/>
                <a:gd name="T17" fmla="*/ 52 h 88"/>
                <a:gd name="T18" fmla="*/ 0 w 88"/>
                <a:gd name="T19" fmla="*/ 44 h 88"/>
                <a:gd name="T20" fmla="*/ 0 w 88"/>
                <a:gd name="T21" fmla="*/ 44 h 88"/>
                <a:gd name="T22" fmla="*/ 2 w 88"/>
                <a:gd name="T23" fmla="*/ 36 h 88"/>
                <a:gd name="T24" fmla="*/ 4 w 88"/>
                <a:gd name="T25" fmla="*/ 28 h 88"/>
                <a:gd name="T26" fmla="*/ 8 w 88"/>
                <a:gd name="T27" fmla="*/ 20 h 88"/>
                <a:gd name="T28" fmla="*/ 14 w 88"/>
                <a:gd name="T29" fmla="*/ 14 h 88"/>
                <a:gd name="T30" fmla="*/ 20 w 88"/>
                <a:gd name="T31" fmla="*/ 8 h 88"/>
                <a:gd name="T32" fmla="*/ 28 w 88"/>
                <a:gd name="T33" fmla="*/ 4 h 88"/>
                <a:gd name="T34" fmla="*/ 36 w 88"/>
                <a:gd name="T35" fmla="*/ 2 h 88"/>
                <a:gd name="T36" fmla="*/ 44 w 88"/>
                <a:gd name="T37" fmla="*/ 0 h 88"/>
                <a:gd name="T38" fmla="*/ 44 w 88"/>
                <a:gd name="T39" fmla="*/ 0 h 88"/>
                <a:gd name="T40" fmla="*/ 52 w 88"/>
                <a:gd name="T41" fmla="*/ 2 h 88"/>
                <a:gd name="T42" fmla="*/ 60 w 88"/>
                <a:gd name="T43" fmla="*/ 4 h 88"/>
                <a:gd name="T44" fmla="*/ 68 w 88"/>
                <a:gd name="T45" fmla="*/ 8 h 88"/>
                <a:gd name="T46" fmla="*/ 74 w 88"/>
                <a:gd name="T47" fmla="*/ 14 h 88"/>
                <a:gd name="T48" fmla="*/ 80 w 88"/>
                <a:gd name="T49" fmla="*/ 20 h 88"/>
                <a:gd name="T50" fmla="*/ 84 w 88"/>
                <a:gd name="T51" fmla="*/ 28 h 88"/>
                <a:gd name="T52" fmla="*/ 86 w 88"/>
                <a:gd name="T53" fmla="*/ 36 h 88"/>
                <a:gd name="T54" fmla="*/ 88 w 88"/>
                <a:gd name="T55" fmla="*/ 44 h 88"/>
                <a:gd name="T56" fmla="*/ 88 w 88"/>
                <a:gd name="T57" fmla="*/ 44 h 88"/>
                <a:gd name="T58" fmla="*/ 86 w 88"/>
                <a:gd name="T59" fmla="*/ 52 h 88"/>
                <a:gd name="T60" fmla="*/ 84 w 88"/>
                <a:gd name="T61" fmla="*/ 60 h 88"/>
                <a:gd name="T62" fmla="*/ 80 w 88"/>
                <a:gd name="T63" fmla="*/ 68 h 88"/>
                <a:gd name="T64" fmla="*/ 74 w 88"/>
                <a:gd name="T65" fmla="*/ 74 h 88"/>
                <a:gd name="T66" fmla="*/ 68 w 88"/>
                <a:gd name="T67" fmla="*/ 80 h 88"/>
                <a:gd name="T68" fmla="*/ 60 w 88"/>
                <a:gd name="T69" fmla="*/ 84 h 88"/>
                <a:gd name="T70" fmla="*/ 52 w 88"/>
                <a:gd name="T71" fmla="*/ 86 h 88"/>
                <a:gd name="T72" fmla="*/ 44 w 88"/>
                <a:gd name="T73" fmla="*/ 88 h 88"/>
                <a:gd name="T74" fmla="*/ 44 w 88"/>
                <a:gd name="T75" fmla="*/ 88 h 88"/>
                <a:gd name="T76" fmla="*/ 44 w 88"/>
                <a:gd name="T77" fmla="*/ 18 h 88"/>
                <a:gd name="T78" fmla="*/ 44 w 88"/>
                <a:gd name="T79" fmla="*/ 18 h 88"/>
                <a:gd name="T80" fmla="*/ 34 w 88"/>
                <a:gd name="T81" fmla="*/ 20 h 88"/>
                <a:gd name="T82" fmla="*/ 26 w 88"/>
                <a:gd name="T83" fmla="*/ 26 h 88"/>
                <a:gd name="T84" fmla="*/ 20 w 88"/>
                <a:gd name="T85" fmla="*/ 34 h 88"/>
                <a:gd name="T86" fmla="*/ 18 w 88"/>
                <a:gd name="T87" fmla="*/ 44 h 88"/>
                <a:gd name="T88" fmla="*/ 18 w 88"/>
                <a:gd name="T89" fmla="*/ 44 h 88"/>
                <a:gd name="T90" fmla="*/ 20 w 88"/>
                <a:gd name="T91" fmla="*/ 54 h 88"/>
                <a:gd name="T92" fmla="*/ 26 w 88"/>
                <a:gd name="T93" fmla="*/ 62 h 88"/>
                <a:gd name="T94" fmla="*/ 34 w 88"/>
                <a:gd name="T95" fmla="*/ 68 h 88"/>
                <a:gd name="T96" fmla="*/ 44 w 88"/>
                <a:gd name="T97" fmla="*/ 70 h 88"/>
                <a:gd name="T98" fmla="*/ 44 w 88"/>
                <a:gd name="T99" fmla="*/ 70 h 88"/>
                <a:gd name="T100" fmla="*/ 54 w 88"/>
                <a:gd name="T101" fmla="*/ 68 h 88"/>
                <a:gd name="T102" fmla="*/ 62 w 88"/>
                <a:gd name="T103" fmla="*/ 62 h 88"/>
                <a:gd name="T104" fmla="*/ 68 w 88"/>
                <a:gd name="T105" fmla="*/ 54 h 88"/>
                <a:gd name="T106" fmla="*/ 70 w 88"/>
                <a:gd name="T107" fmla="*/ 44 h 88"/>
                <a:gd name="T108" fmla="*/ 70 w 88"/>
                <a:gd name="T109" fmla="*/ 44 h 88"/>
                <a:gd name="T110" fmla="*/ 68 w 88"/>
                <a:gd name="T111" fmla="*/ 34 h 88"/>
                <a:gd name="T112" fmla="*/ 62 w 88"/>
                <a:gd name="T113" fmla="*/ 26 h 88"/>
                <a:gd name="T114" fmla="*/ 54 w 88"/>
                <a:gd name="T115" fmla="*/ 20 h 88"/>
                <a:gd name="T116" fmla="*/ 44 w 88"/>
                <a:gd name="T117" fmla="*/ 18 h 88"/>
                <a:gd name="T118" fmla="*/ 44 w 88"/>
                <a:gd name="T1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lnTo>
                    <a:pt x="44" y="88"/>
                  </a:lnTo>
                  <a:lnTo>
                    <a:pt x="36" y="86"/>
                  </a:lnTo>
                  <a:lnTo>
                    <a:pt x="28" y="84"/>
                  </a:lnTo>
                  <a:lnTo>
                    <a:pt x="20" y="80"/>
                  </a:lnTo>
                  <a:lnTo>
                    <a:pt x="14" y="74"/>
                  </a:lnTo>
                  <a:lnTo>
                    <a:pt x="8" y="68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6"/>
                  </a:lnTo>
                  <a:lnTo>
                    <a:pt x="4" y="28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60" y="4"/>
                  </a:lnTo>
                  <a:lnTo>
                    <a:pt x="68" y="8"/>
                  </a:lnTo>
                  <a:lnTo>
                    <a:pt x="74" y="14"/>
                  </a:lnTo>
                  <a:lnTo>
                    <a:pt x="80" y="20"/>
                  </a:lnTo>
                  <a:lnTo>
                    <a:pt x="84" y="28"/>
                  </a:lnTo>
                  <a:lnTo>
                    <a:pt x="86" y="3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52"/>
                  </a:lnTo>
                  <a:lnTo>
                    <a:pt x="84" y="60"/>
                  </a:lnTo>
                  <a:lnTo>
                    <a:pt x="80" y="68"/>
                  </a:lnTo>
                  <a:lnTo>
                    <a:pt x="74" y="74"/>
                  </a:lnTo>
                  <a:lnTo>
                    <a:pt x="68" y="80"/>
                  </a:lnTo>
                  <a:lnTo>
                    <a:pt x="60" y="84"/>
                  </a:lnTo>
                  <a:lnTo>
                    <a:pt x="52" y="86"/>
                  </a:lnTo>
                  <a:lnTo>
                    <a:pt x="44" y="88"/>
                  </a:lnTo>
                  <a:lnTo>
                    <a:pt x="44" y="88"/>
                  </a:lnTo>
                  <a:close/>
                  <a:moveTo>
                    <a:pt x="44" y="18"/>
                  </a:moveTo>
                  <a:lnTo>
                    <a:pt x="44" y="18"/>
                  </a:lnTo>
                  <a:lnTo>
                    <a:pt x="34" y="20"/>
                  </a:lnTo>
                  <a:lnTo>
                    <a:pt x="26" y="26"/>
                  </a:lnTo>
                  <a:lnTo>
                    <a:pt x="20" y="3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20" y="54"/>
                  </a:lnTo>
                  <a:lnTo>
                    <a:pt x="26" y="62"/>
                  </a:lnTo>
                  <a:lnTo>
                    <a:pt x="34" y="68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54" y="68"/>
                  </a:lnTo>
                  <a:lnTo>
                    <a:pt x="62" y="62"/>
                  </a:lnTo>
                  <a:lnTo>
                    <a:pt x="68" y="5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34"/>
                  </a:lnTo>
                  <a:lnTo>
                    <a:pt x="62" y="26"/>
                  </a:lnTo>
                  <a:lnTo>
                    <a:pt x="54" y="20"/>
                  </a:lnTo>
                  <a:lnTo>
                    <a:pt x="44" y="18"/>
                  </a:lnTo>
                  <a:lnTo>
                    <a:pt x="44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9">
              <a:extLst>
                <a:ext uri="{FF2B5EF4-FFF2-40B4-BE49-F238E27FC236}">
                  <a16:creationId xmlns:a16="http://schemas.microsoft.com/office/drawing/2014/main" id="{037937CF-7C3C-57DA-FEFA-AE4BAEBA97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0925" y="4810125"/>
              <a:ext cx="136525" cy="136525"/>
            </a:xfrm>
            <a:custGeom>
              <a:avLst/>
              <a:gdLst>
                <a:gd name="T0" fmla="*/ 42 w 86"/>
                <a:gd name="T1" fmla="*/ 86 h 86"/>
                <a:gd name="T2" fmla="*/ 42 w 86"/>
                <a:gd name="T3" fmla="*/ 86 h 86"/>
                <a:gd name="T4" fmla="*/ 34 w 86"/>
                <a:gd name="T5" fmla="*/ 84 h 86"/>
                <a:gd name="T6" fmla="*/ 26 w 86"/>
                <a:gd name="T7" fmla="*/ 82 h 86"/>
                <a:gd name="T8" fmla="*/ 18 w 86"/>
                <a:gd name="T9" fmla="*/ 78 h 86"/>
                <a:gd name="T10" fmla="*/ 12 w 86"/>
                <a:gd name="T11" fmla="*/ 74 h 86"/>
                <a:gd name="T12" fmla="*/ 6 w 86"/>
                <a:gd name="T13" fmla="*/ 66 h 86"/>
                <a:gd name="T14" fmla="*/ 2 w 86"/>
                <a:gd name="T15" fmla="*/ 60 h 86"/>
                <a:gd name="T16" fmla="*/ 0 w 86"/>
                <a:gd name="T17" fmla="*/ 52 h 86"/>
                <a:gd name="T18" fmla="*/ 0 w 86"/>
                <a:gd name="T19" fmla="*/ 42 h 86"/>
                <a:gd name="T20" fmla="*/ 0 w 86"/>
                <a:gd name="T21" fmla="*/ 42 h 86"/>
                <a:gd name="T22" fmla="*/ 0 w 86"/>
                <a:gd name="T23" fmla="*/ 34 h 86"/>
                <a:gd name="T24" fmla="*/ 2 w 86"/>
                <a:gd name="T25" fmla="*/ 26 h 86"/>
                <a:gd name="T26" fmla="*/ 6 w 86"/>
                <a:gd name="T27" fmla="*/ 18 h 86"/>
                <a:gd name="T28" fmla="*/ 12 w 86"/>
                <a:gd name="T29" fmla="*/ 12 h 86"/>
                <a:gd name="T30" fmla="*/ 18 w 86"/>
                <a:gd name="T31" fmla="*/ 6 h 86"/>
                <a:gd name="T32" fmla="*/ 26 w 86"/>
                <a:gd name="T33" fmla="*/ 2 h 86"/>
                <a:gd name="T34" fmla="*/ 34 w 86"/>
                <a:gd name="T35" fmla="*/ 0 h 86"/>
                <a:gd name="T36" fmla="*/ 42 w 86"/>
                <a:gd name="T37" fmla="*/ 0 h 86"/>
                <a:gd name="T38" fmla="*/ 42 w 86"/>
                <a:gd name="T39" fmla="*/ 0 h 86"/>
                <a:gd name="T40" fmla="*/ 52 w 86"/>
                <a:gd name="T41" fmla="*/ 0 h 86"/>
                <a:gd name="T42" fmla="*/ 60 w 86"/>
                <a:gd name="T43" fmla="*/ 2 h 86"/>
                <a:gd name="T44" fmla="*/ 66 w 86"/>
                <a:gd name="T45" fmla="*/ 6 h 86"/>
                <a:gd name="T46" fmla="*/ 72 w 86"/>
                <a:gd name="T47" fmla="*/ 12 h 86"/>
                <a:gd name="T48" fmla="*/ 78 w 86"/>
                <a:gd name="T49" fmla="*/ 18 h 86"/>
                <a:gd name="T50" fmla="*/ 82 w 86"/>
                <a:gd name="T51" fmla="*/ 26 h 86"/>
                <a:gd name="T52" fmla="*/ 84 w 86"/>
                <a:gd name="T53" fmla="*/ 34 h 86"/>
                <a:gd name="T54" fmla="*/ 86 w 86"/>
                <a:gd name="T55" fmla="*/ 42 h 86"/>
                <a:gd name="T56" fmla="*/ 86 w 86"/>
                <a:gd name="T57" fmla="*/ 42 h 86"/>
                <a:gd name="T58" fmla="*/ 84 w 86"/>
                <a:gd name="T59" fmla="*/ 52 h 86"/>
                <a:gd name="T60" fmla="*/ 82 w 86"/>
                <a:gd name="T61" fmla="*/ 60 h 86"/>
                <a:gd name="T62" fmla="*/ 78 w 86"/>
                <a:gd name="T63" fmla="*/ 66 h 86"/>
                <a:gd name="T64" fmla="*/ 72 w 86"/>
                <a:gd name="T65" fmla="*/ 74 h 86"/>
                <a:gd name="T66" fmla="*/ 66 w 86"/>
                <a:gd name="T67" fmla="*/ 78 h 86"/>
                <a:gd name="T68" fmla="*/ 60 w 86"/>
                <a:gd name="T69" fmla="*/ 82 h 86"/>
                <a:gd name="T70" fmla="*/ 52 w 86"/>
                <a:gd name="T71" fmla="*/ 84 h 86"/>
                <a:gd name="T72" fmla="*/ 42 w 86"/>
                <a:gd name="T73" fmla="*/ 86 h 86"/>
                <a:gd name="T74" fmla="*/ 42 w 86"/>
                <a:gd name="T75" fmla="*/ 86 h 86"/>
                <a:gd name="T76" fmla="*/ 42 w 86"/>
                <a:gd name="T77" fmla="*/ 18 h 86"/>
                <a:gd name="T78" fmla="*/ 42 w 86"/>
                <a:gd name="T79" fmla="*/ 18 h 86"/>
                <a:gd name="T80" fmla="*/ 32 w 86"/>
                <a:gd name="T81" fmla="*/ 20 h 86"/>
                <a:gd name="T82" fmla="*/ 24 w 86"/>
                <a:gd name="T83" fmla="*/ 24 h 86"/>
                <a:gd name="T84" fmla="*/ 20 w 86"/>
                <a:gd name="T85" fmla="*/ 32 h 86"/>
                <a:gd name="T86" fmla="*/ 18 w 86"/>
                <a:gd name="T87" fmla="*/ 42 h 86"/>
                <a:gd name="T88" fmla="*/ 18 w 86"/>
                <a:gd name="T89" fmla="*/ 42 h 86"/>
                <a:gd name="T90" fmla="*/ 20 w 86"/>
                <a:gd name="T91" fmla="*/ 52 h 86"/>
                <a:gd name="T92" fmla="*/ 24 w 86"/>
                <a:gd name="T93" fmla="*/ 60 h 86"/>
                <a:gd name="T94" fmla="*/ 32 w 86"/>
                <a:gd name="T95" fmla="*/ 66 h 86"/>
                <a:gd name="T96" fmla="*/ 42 w 86"/>
                <a:gd name="T97" fmla="*/ 68 h 86"/>
                <a:gd name="T98" fmla="*/ 42 w 86"/>
                <a:gd name="T99" fmla="*/ 68 h 86"/>
                <a:gd name="T100" fmla="*/ 52 w 86"/>
                <a:gd name="T101" fmla="*/ 66 h 86"/>
                <a:gd name="T102" fmla="*/ 60 w 86"/>
                <a:gd name="T103" fmla="*/ 60 h 86"/>
                <a:gd name="T104" fmla="*/ 66 w 86"/>
                <a:gd name="T105" fmla="*/ 52 h 86"/>
                <a:gd name="T106" fmla="*/ 68 w 86"/>
                <a:gd name="T107" fmla="*/ 42 h 86"/>
                <a:gd name="T108" fmla="*/ 68 w 86"/>
                <a:gd name="T109" fmla="*/ 42 h 86"/>
                <a:gd name="T110" fmla="*/ 66 w 86"/>
                <a:gd name="T111" fmla="*/ 32 h 86"/>
                <a:gd name="T112" fmla="*/ 60 w 86"/>
                <a:gd name="T113" fmla="*/ 24 h 86"/>
                <a:gd name="T114" fmla="*/ 52 w 86"/>
                <a:gd name="T115" fmla="*/ 20 h 86"/>
                <a:gd name="T116" fmla="*/ 42 w 86"/>
                <a:gd name="T117" fmla="*/ 18 h 86"/>
                <a:gd name="T118" fmla="*/ 42 w 86"/>
                <a:gd name="T119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" h="86">
                  <a:moveTo>
                    <a:pt x="42" y="86"/>
                  </a:moveTo>
                  <a:lnTo>
                    <a:pt x="42" y="86"/>
                  </a:lnTo>
                  <a:lnTo>
                    <a:pt x="34" y="84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6" y="66"/>
                  </a:lnTo>
                  <a:lnTo>
                    <a:pt x="2" y="60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60" y="2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52"/>
                  </a:lnTo>
                  <a:lnTo>
                    <a:pt x="82" y="60"/>
                  </a:lnTo>
                  <a:lnTo>
                    <a:pt x="78" y="66"/>
                  </a:lnTo>
                  <a:lnTo>
                    <a:pt x="72" y="74"/>
                  </a:lnTo>
                  <a:lnTo>
                    <a:pt x="66" y="78"/>
                  </a:lnTo>
                  <a:lnTo>
                    <a:pt x="60" y="82"/>
                  </a:lnTo>
                  <a:lnTo>
                    <a:pt x="52" y="84"/>
                  </a:lnTo>
                  <a:lnTo>
                    <a:pt x="42" y="86"/>
                  </a:lnTo>
                  <a:lnTo>
                    <a:pt x="42" y="86"/>
                  </a:lnTo>
                  <a:close/>
                  <a:moveTo>
                    <a:pt x="42" y="18"/>
                  </a:moveTo>
                  <a:lnTo>
                    <a:pt x="42" y="18"/>
                  </a:lnTo>
                  <a:lnTo>
                    <a:pt x="32" y="20"/>
                  </a:lnTo>
                  <a:lnTo>
                    <a:pt x="24" y="24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0" y="52"/>
                  </a:lnTo>
                  <a:lnTo>
                    <a:pt x="24" y="60"/>
                  </a:lnTo>
                  <a:lnTo>
                    <a:pt x="32" y="66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52" y="66"/>
                  </a:lnTo>
                  <a:lnTo>
                    <a:pt x="60" y="60"/>
                  </a:lnTo>
                  <a:lnTo>
                    <a:pt x="66" y="5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6" y="32"/>
                  </a:lnTo>
                  <a:lnTo>
                    <a:pt x="60" y="24"/>
                  </a:lnTo>
                  <a:lnTo>
                    <a:pt x="52" y="20"/>
                  </a:lnTo>
                  <a:lnTo>
                    <a:pt x="42" y="18"/>
                  </a:lnTo>
                  <a:lnTo>
                    <a:pt x="4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80">
              <a:extLst>
                <a:ext uri="{FF2B5EF4-FFF2-40B4-BE49-F238E27FC236}">
                  <a16:creationId xmlns:a16="http://schemas.microsoft.com/office/drawing/2014/main" id="{F05687E9-8B6D-2D97-8109-104B252E25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4500" y="4737100"/>
              <a:ext cx="133350" cy="133350"/>
            </a:xfrm>
            <a:custGeom>
              <a:avLst/>
              <a:gdLst>
                <a:gd name="T0" fmla="*/ 42 w 84"/>
                <a:gd name="T1" fmla="*/ 84 h 84"/>
                <a:gd name="T2" fmla="*/ 42 w 84"/>
                <a:gd name="T3" fmla="*/ 84 h 84"/>
                <a:gd name="T4" fmla="*/ 34 w 84"/>
                <a:gd name="T5" fmla="*/ 82 h 84"/>
                <a:gd name="T6" fmla="*/ 26 w 84"/>
                <a:gd name="T7" fmla="*/ 80 h 84"/>
                <a:gd name="T8" fmla="*/ 18 w 84"/>
                <a:gd name="T9" fmla="*/ 76 h 84"/>
                <a:gd name="T10" fmla="*/ 12 w 84"/>
                <a:gd name="T11" fmla="*/ 72 h 84"/>
                <a:gd name="T12" fmla="*/ 6 w 84"/>
                <a:gd name="T13" fmla="*/ 66 h 84"/>
                <a:gd name="T14" fmla="*/ 2 w 84"/>
                <a:gd name="T15" fmla="*/ 58 h 84"/>
                <a:gd name="T16" fmla="*/ 0 w 84"/>
                <a:gd name="T17" fmla="*/ 50 h 84"/>
                <a:gd name="T18" fmla="*/ 0 w 84"/>
                <a:gd name="T19" fmla="*/ 42 h 84"/>
                <a:gd name="T20" fmla="*/ 0 w 84"/>
                <a:gd name="T21" fmla="*/ 42 h 84"/>
                <a:gd name="T22" fmla="*/ 0 w 84"/>
                <a:gd name="T23" fmla="*/ 34 h 84"/>
                <a:gd name="T24" fmla="*/ 2 w 84"/>
                <a:gd name="T25" fmla="*/ 26 h 84"/>
                <a:gd name="T26" fmla="*/ 6 w 84"/>
                <a:gd name="T27" fmla="*/ 18 h 84"/>
                <a:gd name="T28" fmla="*/ 12 w 84"/>
                <a:gd name="T29" fmla="*/ 12 h 84"/>
                <a:gd name="T30" fmla="*/ 18 w 84"/>
                <a:gd name="T31" fmla="*/ 8 h 84"/>
                <a:gd name="T32" fmla="*/ 26 w 84"/>
                <a:gd name="T33" fmla="*/ 4 h 84"/>
                <a:gd name="T34" fmla="*/ 34 w 84"/>
                <a:gd name="T35" fmla="*/ 0 h 84"/>
                <a:gd name="T36" fmla="*/ 42 w 84"/>
                <a:gd name="T37" fmla="*/ 0 h 84"/>
                <a:gd name="T38" fmla="*/ 42 w 84"/>
                <a:gd name="T39" fmla="*/ 0 h 84"/>
                <a:gd name="T40" fmla="*/ 50 w 84"/>
                <a:gd name="T41" fmla="*/ 0 h 84"/>
                <a:gd name="T42" fmla="*/ 58 w 84"/>
                <a:gd name="T43" fmla="*/ 4 h 84"/>
                <a:gd name="T44" fmla="*/ 64 w 84"/>
                <a:gd name="T45" fmla="*/ 8 h 84"/>
                <a:gd name="T46" fmla="*/ 72 w 84"/>
                <a:gd name="T47" fmla="*/ 12 h 84"/>
                <a:gd name="T48" fmla="*/ 76 w 84"/>
                <a:gd name="T49" fmla="*/ 18 h 84"/>
                <a:gd name="T50" fmla="*/ 80 w 84"/>
                <a:gd name="T51" fmla="*/ 26 h 84"/>
                <a:gd name="T52" fmla="*/ 82 w 84"/>
                <a:gd name="T53" fmla="*/ 34 h 84"/>
                <a:gd name="T54" fmla="*/ 84 w 84"/>
                <a:gd name="T55" fmla="*/ 42 h 84"/>
                <a:gd name="T56" fmla="*/ 84 w 84"/>
                <a:gd name="T57" fmla="*/ 42 h 84"/>
                <a:gd name="T58" fmla="*/ 82 w 84"/>
                <a:gd name="T59" fmla="*/ 50 h 84"/>
                <a:gd name="T60" fmla="*/ 80 w 84"/>
                <a:gd name="T61" fmla="*/ 58 h 84"/>
                <a:gd name="T62" fmla="*/ 76 w 84"/>
                <a:gd name="T63" fmla="*/ 66 h 84"/>
                <a:gd name="T64" fmla="*/ 72 w 84"/>
                <a:gd name="T65" fmla="*/ 72 h 84"/>
                <a:gd name="T66" fmla="*/ 64 w 84"/>
                <a:gd name="T67" fmla="*/ 76 h 84"/>
                <a:gd name="T68" fmla="*/ 58 w 84"/>
                <a:gd name="T69" fmla="*/ 80 h 84"/>
                <a:gd name="T70" fmla="*/ 50 w 84"/>
                <a:gd name="T71" fmla="*/ 82 h 84"/>
                <a:gd name="T72" fmla="*/ 42 w 84"/>
                <a:gd name="T73" fmla="*/ 84 h 84"/>
                <a:gd name="T74" fmla="*/ 42 w 84"/>
                <a:gd name="T75" fmla="*/ 84 h 84"/>
                <a:gd name="T76" fmla="*/ 42 w 84"/>
                <a:gd name="T77" fmla="*/ 18 h 84"/>
                <a:gd name="T78" fmla="*/ 42 w 84"/>
                <a:gd name="T79" fmla="*/ 18 h 84"/>
                <a:gd name="T80" fmla="*/ 32 w 84"/>
                <a:gd name="T81" fmla="*/ 20 h 84"/>
                <a:gd name="T82" fmla="*/ 24 w 84"/>
                <a:gd name="T83" fmla="*/ 26 h 84"/>
                <a:gd name="T84" fmla="*/ 20 w 84"/>
                <a:gd name="T85" fmla="*/ 32 h 84"/>
                <a:gd name="T86" fmla="*/ 18 w 84"/>
                <a:gd name="T87" fmla="*/ 42 h 84"/>
                <a:gd name="T88" fmla="*/ 18 w 84"/>
                <a:gd name="T89" fmla="*/ 42 h 84"/>
                <a:gd name="T90" fmla="*/ 20 w 84"/>
                <a:gd name="T91" fmla="*/ 52 h 84"/>
                <a:gd name="T92" fmla="*/ 24 w 84"/>
                <a:gd name="T93" fmla="*/ 58 h 84"/>
                <a:gd name="T94" fmla="*/ 32 w 84"/>
                <a:gd name="T95" fmla="*/ 64 h 84"/>
                <a:gd name="T96" fmla="*/ 42 w 84"/>
                <a:gd name="T97" fmla="*/ 66 h 84"/>
                <a:gd name="T98" fmla="*/ 42 w 84"/>
                <a:gd name="T99" fmla="*/ 66 h 84"/>
                <a:gd name="T100" fmla="*/ 50 w 84"/>
                <a:gd name="T101" fmla="*/ 64 h 84"/>
                <a:gd name="T102" fmla="*/ 58 w 84"/>
                <a:gd name="T103" fmla="*/ 58 h 84"/>
                <a:gd name="T104" fmla="*/ 64 w 84"/>
                <a:gd name="T105" fmla="*/ 52 h 84"/>
                <a:gd name="T106" fmla="*/ 66 w 84"/>
                <a:gd name="T107" fmla="*/ 42 h 84"/>
                <a:gd name="T108" fmla="*/ 66 w 84"/>
                <a:gd name="T109" fmla="*/ 42 h 84"/>
                <a:gd name="T110" fmla="*/ 64 w 84"/>
                <a:gd name="T111" fmla="*/ 32 h 84"/>
                <a:gd name="T112" fmla="*/ 58 w 84"/>
                <a:gd name="T113" fmla="*/ 26 h 84"/>
                <a:gd name="T114" fmla="*/ 50 w 84"/>
                <a:gd name="T115" fmla="*/ 20 h 84"/>
                <a:gd name="T116" fmla="*/ 42 w 84"/>
                <a:gd name="T117" fmla="*/ 18 h 84"/>
                <a:gd name="T118" fmla="*/ 42 w 84"/>
                <a:gd name="T119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lnTo>
                    <a:pt x="42" y="84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4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6"/>
                  </a:lnTo>
                  <a:lnTo>
                    <a:pt x="72" y="72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4"/>
                  </a:lnTo>
                  <a:lnTo>
                    <a:pt x="42" y="84"/>
                  </a:lnTo>
                  <a:close/>
                  <a:moveTo>
                    <a:pt x="42" y="18"/>
                  </a:moveTo>
                  <a:lnTo>
                    <a:pt x="42" y="18"/>
                  </a:lnTo>
                  <a:lnTo>
                    <a:pt x="32" y="20"/>
                  </a:lnTo>
                  <a:lnTo>
                    <a:pt x="24" y="26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0" y="52"/>
                  </a:lnTo>
                  <a:lnTo>
                    <a:pt x="24" y="58"/>
                  </a:lnTo>
                  <a:lnTo>
                    <a:pt x="3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50" y="64"/>
                  </a:lnTo>
                  <a:lnTo>
                    <a:pt x="58" y="58"/>
                  </a:lnTo>
                  <a:lnTo>
                    <a:pt x="64" y="5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32"/>
                  </a:lnTo>
                  <a:lnTo>
                    <a:pt x="58" y="26"/>
                  </a:lnTo>
                  <a:lnTo>
                    <a:pt x="50" y="20"/>
                  </a:lnTo>
                  <a:lnTo>
                    <a:pt x="42" y="18"/>
                  </a:lnTo>
                  <a:lnTo>
                    <a:pt x="4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81">
              <a:extLst>
                <a:ext uri="{FF2B5EF4-FFF2-40B4-BE49-F238E27FC236}">
                  <a16:creationId xmlns:a16="http://schemas.microsoft.com/office/drawing/2014/main" id="{CCC7EE34-C3C5-55EB-D782-C812C8A455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350" y="4749800"/>
              <a:ext cx="285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82">
              <a:extLst>
                <a:ext uri="{FF2B5EF4-FFF2-40B4-BE49-F238E27FC236}">
                  <a16:creationId xmlns:a16="http://schemas.microsoft.com/office/drawing/2014/main" id="{1EF9094A-CD00-603E-FEC9-5E13C2807E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883150"/>
              <a:ext cx="2857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83">
              <a:extLst>
                <a:ext uri="{FF2B5EF4-FFF2-40B4-BE49-F238E27FC236}">
                  <a16:creationId xmlns:a16="http://schemas.microsoft.com/office/drawing/2014/main" id="{9F80AB7B-7252-AD4A-4508-D70D3108F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" y="4683125"/>
              <a:ext cx="2857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84">
              <a:extLst>
                <a:ext uri="{FF2B5EF4-FFF2-40B4-BE49-F238E27FC236}">
                  <a16:creationId xmlns:a16="http://schemas.microsoft.com/office/drawing/2014/main" id="{E99FE260-2B55-F054-F12C-EA946DE6D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4675" y="4670425"/>
              <a:ext cx="2857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85">
              <a:extLst>
                <a:ext uri="{FF2B5EF4-FFF2-40B4-BE49-F238E27FC236}">
                  <a16:creationId xmlns:a16="http://schemas.microsoft.com/office/drawing/2014/main" id="{E1E4AC33-39CF-6B1A-B5EF-3C331069A9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125" y="4886325"/>
              <a:ext cx="285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86">
              <a:extLst>
                <a:ext uri="{FF2B5EF4-FFF2-40B4-BE49-F238E27FC236}">
                  <a16:creationId xmlns:a16="http://schemas.microsoft.com/office/drawing/2014/main" id="{6D8F6D4C-5617-A0C5-BBF4-4E2E5A0AE6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200" y="4860925"/>
              <a:ext cx="2857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90A14DC-A4DA-C724-EF59-FFB9E04BB41A}"/>
              </a:ext>
            </a:extLst>
          </p:cNvPr>
          <p:cNvGrpSpPr>
            <a:grpSpLocks noChangeAspect="1"/>
          </p:cNvGrpSpPr>
          <p:nvPr/>
        </p:nvGrpSpPr>
        <p:grpSpPr>
          <a:xfrm>
            <a:off x="7214491" y="1886259"/>
            <a:ext cx="457276" cy="894669"/>
            <a:chOff x="1754188" y="3444875"/>
            <a:chExt cx="292100" cy="571500"/>
          </a:xfrm>
        </p:grpSpPr>
        <p:sp>
          <p:nvSpPr>
            <p:cNvPr id="79" name="Freeform 185">
              <a:extLst>
                <a:ext uri="{FF2B5EF4-FFF2-40B4-BE49-F238E27FC236}">
                  <a16:creationId xmlns:a16="http://schemas.microsoft.com/office/drawing/2014/main" id="{D2E030D3-22D3-9152-3141-3E73D04BD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188" y="3614738"/>
              <a:ext cx="266700" cy="401637"/>
            </a:xfrm>
            <a:custGeom>
              <a:avLst/>
              <a:gdLst>
                <a:gd name="T0" fmla="*/ 88 w 88"/>
                <a:gd name="T1" fmla="*/ 132 h 132"/>
                <a:gd name="T2" fmla="*/ 88 w 88"/>
                <a:gd name="T3" fmla="*/ 116 h 132"/>
                <a:gd name="T4" fmla="*/ 80 w 88"/>
                <a:gd name="T5" fmla="*/ 108 h 132"/>
                <a:gd name="T6" fmla="*/ 76 w 88"/>
                <a:gd name="T7" fmla="*/ 108 h 132"/>
                <a:gd name="T8" fmla="*/ 76 w 88"/>
                <a:gd name="T9" fmla="*/ 96 h 132"/>
                <a:gd name="T10" fmla="*/ 72 w 88"/>
                <a:gd name="T11" fmla="*/ 92 h 132"/>
                <a:gd name="T12" fmla="*/ 68 w 88"/>
                <a:gd name="T13" fmla="*/ 92 h 132"/>
                <a:gd name="T14" fmla="*/ 68 w 88"/>
                <a:gd name="T15" fmla="*/ 52 h 132"/>
                <a:gd name="T16" fmla="*/ 84 w 88"/>
                <a:gd name="T17" fmla="*/ 36 h 132"/>
                <a:gd name="T18" fmla="*/ 84 w 88"/>
                <a:gd name="T19" fmla="*/ 0 h 132"/>
                <a:gd name="T20" fmla="*/ 68 w 88"/>
                <a:gd name="T21" fmla="*/ 0 h 132"/>
                <a:gd name="T22" fmla="*/ 68 w 88"/>
                <a:gd name="T23" fmla="*/ 12 h 132"/>
                <a:gd name="T24" fmla="*/ 52 w 88"/>
                <a:gd name="T25" fmla="*/ 12 h 132"/>
                <a:gd name="T26" fmla="*/ 52 w 88"/>
                <a:gd name="T27" fmla="*/ 0 h 132"/>
                <a:gd name="T28" fmla="*/ 36 w 88"/>
                <a:gd name="T29" fmla="*/ 0 h 132"/>
                <a:gd name="T30" fmla="*/ 36 w 88"/>
                <a:gd name="T31" fmla="*/ 12 h 132"/>
                <a:gd name="T32" fmla="*/ 20 w 88"/>
                <a:gd name="T33" fmla="*/ 12 h 132"/>
                <a:gd name="T34" fmla="*/ 20 w 88"/>
                <a:gd name="T35" fmla="*/ 0 h 132"/>
                <a:gd name="T36" fmla="*/ 4 w 88"/>
                <a:gd name="T37" fmla="*/ 0 h 132"/>
                <a:gd name="T38" fmla="*/ 4 w 88"/>
                <a:gd name="T39" fmla="*/ 36 h 132"/>
                <a:gd name="T40" fmla="*/ 20 w 88"/>
                <a:gd name="T41" fmla="*/ 52 h 132"/>
                <a:gd name="T42" fmla="*/ 20 w 88"/>
                <a:gd name="T43" fmla="*/ 92 h 132"/>
                <a:gd name="T44" fmla="*/ 16 w 88"/>
                <a:gd name="T45" fmla="*/ 92 h 132"/>
                <a:gd name="T46" fmla="*/ 12 w 88"/>
                <a:gd name="T47" fmla="*/ 96 h 132"/>
                <a:gd name="T48" fmla="*/ 12 w 88"/>
                <a:gd name="T49" fmla="*/ 108 h 132"/>
                <a:gd name="T50" fmla="*/ 8 w 88"/>
                <a:gd name="T51" fmla="*/ 108 h 132"/>
                <a:gd name="T52" fmla="*/ 0 w 88"/>
                <a:gd name="T53" fmla="*/ 116 h 132"/>
                <a:gd name="T54" fmla="*/ 0 w 88"/>
                <a:gd name="T55" fmla="*/ 132 h 132"/>
                <a:gd name="T56" fmla="*/ 88 w 88"/>
                <a:gd name="T5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8" h="132">
                  <a:moveTo>
                    <a:pt x="88" y="132"/>
                  </a:moveTo>
                  <a:cubicBezTo>
                    <a:pt x="88" y="116"/>
                    <a:pt x="88" y="116"/>
                    <a:pt x="88" y="116"/>
                  </a:cubicBezTo>
                  <a:cubicBezTo>
                    <a:pt x="88" y="112"/>
                    <a:pt x="84" y="108"/>
                    <a:pt x="80" y="108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76" y="96"/>
                    <a:pt x="76" y="96"/>
                    <a:pt x="76" y="96"/>
                  </a:cubicBezTo>
                  <a:cubicBezTo>
                    <a:pt x="76" y="94"/>
                    <a:pt x="74" y="92"/>
                    <a:pt x="72" y="92"/>
                  </a:cubicBezTo>
                  <a:cubicBezTo>
                    <a:pt x="68" y="92"/>
                    <a:pt x="68" y="92"/>
                    <a:pt x="68" y="9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2"/>
                    <a:pt x="12" y="94"/>
                    <a:pt x="12" y="96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4" y="108"/>
                    <a:pt x="0" y="112"/>
                    <a:pt x="0" y="116"/>
                  </a:cubicBezTo>
                  <a:cubicBezTo>
                    <a:pt x="0" y="132"/>
                    <a:pt x="0" y="132"/>
                    <a:pt x="0" y="132"/>
                  </a:cubicBezTo>
                  <a:lnTo>
                    <a:pt x="88" y="132"/>
                  </a:lnTo>
                  <a:close/>
                </a:path>
              </a:pathLst>
            </a:cu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0" name="Line 186">
              <a:extLst>
                <a:ext uri="{FF2B5EF4-FFF2-40B4-BE49-F238E27FC236}">
                  <a16:creationId xmlns:a16="http://schemas.microsoft.com/office/drawing/2014/main" id="{DE5D5CA3-540B-41C9-CA6F-A0DA64D39E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0700" y="3943350"/>
              <a:ext cx="96838" cy="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1" name="Line 187">
              <a:extLst>
                <a:ext uri="{FF2B5EF4-FFF2-40B4-BE49-F238E27FC236}">
                  <a16:creationId xmlns:a16="http://schemas.microsoft.com/office/drawing/2014/main" id="{685DEF98-5B61-DE37-CB1D-482C5A75DD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4050" y="3943350"/>
              <a:ext cx="60325" cy="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2" name="Line 188">
              <a:extLst>
                <a:ext uri="{FF2B5EF4-FFF2-40B4-BE49-F238E27FC236}">
                  <a16:creationId xmlns:a16="http://schemas.microsoft.com/office/drawing/2014/main" id="{8DB375BE-0AC9-5274-5EE6-BAF899493C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66888" y="3711575"/>
              <a:ext cx="120650" cy="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3" name="Line 189">
              <a:extLst>
                <a:ext uri="{FF2B5EF4-FFF2-40B4-BE49-F238E27FC236}">
                  <a16:creationId xmlns:a16="http://schemas.microsoft.com/office/drawing/2014/main" id="{279D35A0-AF6A-706C-5DE6-BB3199F625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36750" y="3711575"/>
              <a:ext cx="73025" cy="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4" name="Freeform 190">
              <a:extLst>
                <a:ext uri="{FF2B5EF4-FFF2-40B4-BE49-F238E27FC236}">
                  <a16:creationId xmlns:a16="http://schemas.microsoft.com/office/drawing/2014/main" id="{A0EEFEAA-AD5E-26AD-5FE5-0494FE77E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7538" y="3460750"/>
              <a:ext cx="158750" cy="90487"/>
            </a:xfrm>
            <a:custGeom>
              <a:avLst/>
              <a:gdLst>
                <a:gd name="T0" fmla="*/ 0 w 52"/>
                <a:gd name="T1" fmla="*/ 27 h 30"/>
                <a:gd name="T2" fmla="*/ 5 w 52"/>
                <a:gd name="T3" fmla="*/ 28 h 30"/>
                <a:gd name="T4" fmla="*/ 26 w 52"/>
                <a:gd name="T5" fmla="*/ 27 h 30"/>
                <a:gd name="T6" fmla="*/ 26 w 52"/>
                <a:gd name="T7" fmla="*/ 27 h 30"/>
                <a:gd name="T8" fmla="*/ 47 w 52"/>
                <a:gd name="T9" fmla="*/ 26 h 30"/>
                <a:gd name="T10" fmla="*/ 52 w 52"/>
                <a:gd name="T11" fmla="*/ 27 h 30"/>
                <a:gd name="T12" fmla="*/ 52 w 52"/>
                <a:gd name="T13" fmla="*/ 3 h 30"/>
                <a:gd name="T14" fmla="*/ 47 w 52"/>
                <a:gd name="T15" fmla="*/ 2 h 30"/>
                <a:gd name="T16" fmla="*/ 26 w 52"/>
                <a:gd name="T17" fmla="*/ 3 h 30"/>
                <a:gd name="T18" fmla="*/ 26 w 52"/>
                <a:gd name="T19" fmla="*/ 3 h 30"/>
                <a:gd name="T20" fmla="*/ 5 w 52"/>
                <a:gd name="T21" fmla="*/ 4 h 30"/>
                <a:gd name="T22" fmla="*/ 0 w 52"/>
                <a:gd name="T23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30">
                  <a:moveTo>
                    <a:pt x="0" y="27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12" y="30"/>
                    <a:pt x="19" y="30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33" y="24"/>
                    <a:pt x="40" y="24"/>
                    <a:pt x="47" y="26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0" y="0"/>
                    <a:pt x="33" y="0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9" y="6"/>
                    <a:pt x="12" y="6"/>
                    <a:pt x="5" y="4"/>
                  </a:cubicBez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5" name="Line 191">
              <a:extLst>
                <a:ext uri="{FF2B5EF4-FFF2-40B4-BE49-F238E27FC236}">
                  <a16:creationId xmlns:a16="http://schemas.microsoft.com/office/drawing/2014/main" id="{751C6296-C58E-540B-09C1-6A685FA467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87538" y="3444875"/>
              <a:ext cx="0" cy="14605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6" name="Line 192">
              <a:extLst>
                <a:ext uri="{FF2B5EF4-FFF2-40B4-BE49-F238E27FC236}">
                  <a16:creationId xmlns:a16="http://schemas.microsoft.com/office/drawing/2014/main" id="{F016AD3F-BC6D-3F96-E0ED-5641A8D9E8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24050" y="3894138"/>
              <a:ext cx="36513" cy="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87" name="Line 193">
              <a:extLst>
                <a:ext uri="{FF2B5EF4-FFF2-40B4-BE49-F238E27FC236}">
                  <a16:creationId xmlns:a16="http://schemas.microsoft.com/office/drawing/2014/main" id="{DAB5ACAB-4DE2-A48A-371E-19AC28859F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14513" y="3894138"/>
              <a:ext cx="73025" cy="0"/>
            </a:xfrm>
            <a:prstGeom prst="line">
              <a:avLst/>
            </a:prstGeom>
            <a:noFill/>
            <a:ln w="19050" cap="flat" cmpd="sng" algn="ctr">
              <a:solidFill>
                <a:srgbClr val="E7732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</p:grpSp>
    </p:spTree>
    <p:extLst>
      <p:ext uri="{BB962C8B-B14F-4D97-AF65-F5344CB8AC3E}">
        <p14:creationId xmlns:p14="http://schemas.microsoft.com/office/powerpoint/2010/main" val="15727913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46559E-9618-3017-9939-4F350D76E3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149091" y="2718415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Random Forest without PCA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9FC4B6-7783-03B5-36FD-2E4F8547B7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410023" y="3431253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Decision Tre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E9A84A-D215-AFD6-486B-E07F63D29D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577197" y="4144092"/>
            <a:ext cx="2520606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Neural Network without PC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FEDD96-D382-FC7C-B19B-E6ACC2F8A45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681230" y="5569769"/>
            <a:ext cx="2561574" cy="635000"/>
          </a:xfrm>
        </p:spPr>
        <p:txBody>
          <a:bodyPr lIns="91440" tIns="45720" rIns="91440" bIns="45720" anchor="ctr"/>
          <a:lstStyle/>
          <a:p>
            <a:r>
              <a:rPr lang="en-US" err="1">
                <a:cs typeface="Arial"/>
              </a:rPr>
              <a:t>LightGBM</a:t>
            </a:r>
            <a:r>
              <a:rPr lang="en-US">
                <a:cs typeface="Arial"/>
              </a:rPr>
              <a:t> without PCA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D7F331-4F63-28FB-0D39-922F116072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Individual MODEL PERFORMANCES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DAA094-C32D-0F09-B5EC-620A981ADD7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08010" y="4856931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 err="1">
                <a:cs typeface="Arial"/>
              </a:rPr>
              <a:t>XGBoost</a:t>
            </a:r>
            <a:r>
              <a:rPr lang="en-US">
                <a:cs typeface="Arial"/>
              </a:rPr>
              <a:t> without PCA</a:t>
            </a:r>
            <a:endParaRPr lang="en-US" err="1"/>
          </a:p>
        </p:txBody>
      </p:sp>
      <p:pic>
        <p:nvPicPr>
          <p:cNvPr id="24" name="Picture 24" descr="A picture containing text&#10;&#10;Description automatically generated">
            <a:extLst>
              <a:ext uri="{FF2B5EF4-FFF2-40B4-BE49-F238E27FC236}">
                <a16:creationId xmlns:a16="http://schemas.microsoft.com/office/drawing/2014/main" id="{62B7F6EE-0D64-4978-DD95-92E3DE8CAF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723" y="2063370"/>
            <a:ext cx="2743200" cy="486229"/>
          </a:xfrm>
          <a:prstGeom prst="rect">
            <a:avLst/>
          </a:prstGeom>
        </p:spPr>
      </p:pic>
      <p:pic>
        <p:nvPicPr>
          <p:cNvPr id="25" name="Picture 25" descr="A picture containing text&#10;&#10;Description automatically generated">
            <a:extLst>
              <a:ext uri="{FF2B5EF4-FFF2-40B4-BE49-F238E27FC236}">
                <a16:creationId xmlns:a16="http://schemas.microsoft.com/office/drawing/2014/main" id="{57648CE6-1074-2973-193A-B07C2EA12A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8658" y="2792596"/>
            <a:ext cx="2743200" cy="486229"/>
          </a:xfrm>
          <a:prstGeom prst="rect">
            <a:avLst/>
          </a:prstGeom>
        </p:spPr>
      </p:pic>
      <p:pic>
        <p:nvPicPr>
          <p:cNvPr id="26" name="Picture 26" descr="A picture containing text&#10;&#10;Description automatically generated">
            <a:extLst>
              <a:ext uri="{FF2B5EF4-FFF2-40B4-BE49-F238E27FC236}">
                <a16:creationId xmlns:a16="http://schemas.microsoft.com/office/drawing/2014/main" id="{B29F7D98-CD54-B72B-7CF3-8F6ABAA566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6594" y="3505434"/>
            <a:ext cx="2743200" cy="486229"/>
          </a:xfrm>
          <a:prstGeom prst="rect">
            <a:avLst/>
          </a:prstGeom>
        </p:spPr>
      </p:pic>
      <p:pic>
        <p:nvPicPr>
          <p:cNvPr id="27" name="Picture 27">
            <a:extLst>
              <a:ext uri="{FF2B5EF4-FFF2-40B4-BE49-F238E27FC236}">
                <a16:creationId xmlns:a16="http://schemas.microsoft.com/office/drawing/2014/main" id="{0733F529-CD01-7842-9DAC-60B7A1E763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5626" y="4218273"/>
            <a:ext cx="2743200" cy="486229"/>
          </a:xfrm>
          <a:prstGeom prst="rect">
            <a:avLst/>
          </a:prstGeom>
        </p:spPr>
      </p:pic>
      <p:pic>
        <p:nvPicPr>
          <p:cNvPr id="28" name="Picture 28">
            <a:extLst>
              <a:ext uri="{FF2B5EF4-FFF2-40B4-BE49-F238E27FC236}">
                <a16:creationId xmlns:a16="http://schemas.microsoft.com/office/drawing/2014/main" id="{9F3D77EA-4C87-1113-C134-A620325A80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7174" y="4931112"/>
            <a:ext cx="2743200" cy="486229"/>
          </a:xfrm>
          <a:prstGeom prst="rect">
            <a:avLst/>
          </a:prstGeom>
        </p:spPr>
      </p:pic>
      <p:pic>
        <p:nvPicPr>
          <p:cNvPr id="29" name="Picture 29" descr="A picture containing text&#10;&#10;Description automatically generated">
            <a:extLst>
              <a:ext uri="{FF2B5EF4-FFF2-40B4-BE49-F238E27FC236}">
                <a16:creationId xmlns:a16="http://schemas.microsoft.com/office/drawing/2014/main" id="{8A740D18-04E2-1FEC-1B0D-EF6A3F5032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44271" y="5643951"/>
            <a:ext cx="2743200" cy="486229"/>
          </a:xfrm>
          <a:prstGeom prst="rect">
            <a:avLst/>
          </a:prstGeom>
        </p:spPr>
      </p:pic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0C4CD8F-6ECC-3686-5367-A5CEE9C0EC65}"/>
              </a:ext>
            </a:extLst>
          </p:cNvPr>
          <p:cNvSpPr txBox="1">
            <a:spLocks/>
          </p:cNvSpPr>
          <p:nvPr/>
        </p:nvSpPr>
        <p:spPr>
          <a:xfrm>
            <a:off x="301878" y="1985912"/>
            <a:ext cx="2512413" cy="635000"/>
          </a:xfrm>
          <a:prstGeom prst="chevron">
            <a:avLst/>
          </a:prstGeom>
          <a:solidFill>
            <a:srgbClr val="ED7D31"/>
          </a:solidFill>
        </p:spPr>
        <p:txBody>
          <a:bodyPr lIns="91440" tIns="45720" rIns="91440" bIns="4572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cs typeface="Arial"/>
              </a:rPr>
              <a:t>Random Forest with PCA</a:t>
            </a:r>
            <a:endParaRPr lang="en-US"/>
          </a:p>
        </p:txBody>
      </p:sp>
      <p:pic>
        <p:nvPicPr>
          <p:cNvPr id="34" name="Graphic 34" descr="Checkmark with solid fill">
            <a:extLst>
              <a:ext uri="{FF2B5EF4-FFF2-40B4-BE49-F238E27FC236}">
                <a16:creationId xmlns:a16="http://schemas.microsoft.com/office/drawing/2014/main" id="{8CF0719A-68DE-0002-19B8-7FBF715417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66155" y="2709606"/>
            <a:ext cx="742336" cy="725949"/>
          </a:xfrm>
          <a:prstGeom prst="rect">
            <a:avLst/>
          </a:prstGeom>
        </p:spPr>
      </p:pic>
      <p:pic>
        <p:nvPicPr>
          <p:cNvPr id="35" name="Graphic 35" descr="Close with solid fill">
            <a:extLst>
              <a:ext uri="{FF2B5EF4-FFF2-40B4-BE49-F238E27FC236}">
                <a16:creationId xmlns:a16="http://schemas.microsoft.com/office/drawing/2014/main" id="{A42D4E61-B7B4-B3B2-C808-EDA6ACC2CA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84606" y="1939413"/>
            <a:ext cx="734142" cy="734142"/>
          </a:xfrm>
          <a:prstGeom prst="rect">
            <a:avLst/>
          </a:prstGeom>
        </p:spPr>
      </p:pic>
      <p:pic>
        <p:nvPicPr>
          <p:cNvPr id="36" name="Graphic 34" descr="Checkmark with solid fill">
            <a:extLst>
              <a:ext uri="{FF2B5EF4-FFF2-40B4-BE49-F238E27FC236}">
                <a16:creationId xmlns:a16="http://schemas.microsoft.com/office/drawing/2014/main" id="{35FD8336-0C85-578B-6FB8-FC9304CF4A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75639" y="3274961"/>
            <a:ext cx="742336" cy="725949"/>
          </a:xfrm>
          <a:prstGeom prst="rect">
            <a:avLst/>
          </a:prstGeom>
        </p:spPr>
      </p:pic>
      <p:pic>
        <p:nvPicPr>
          <p:cNvPr id="37" name="Graphic 34" descr="Checkmark with solid fill">
            <a:extLst>
              <a:ext uri="{FF2B5EF4-FFF2-40B4-BE49-F238E27FC236}">
                <a16:creationId xmlns:a16="http://schemas.microsoft.com/office/drawing/2014/main" id="{049F86D9-412C-9E2A-752C-36E977A478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48994" y="3995993"/>
            <a:ext cx="742336" cy="725949"/>
          </a:xfrm>
          <a:prstGeom prst="rect">
            <a:avLst/>
          </a:prstGeom>
        </p:spPr>
      </p:pic>
      <p:pic>
        <p:nvPicPr>
          <p:cNvPr id="38" name="Graphic 34" descr="Checkmark with solid fill">
            <a:extLst>
              <a:ext uri="{FF2B5EF4-FFF2-40B4-BE49-F238E27FC236}">
                <a16:creationId xmlns:a16="http://schemas.microsoft.com/office/drawing/2014/main" id="{537E25D6-5F2F-FF97-60C2-29DC7362CE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30542" y="4717025"/>
            <a:ext cx="742336" cy="725949"/>
          </a:xfrm>
          <a:prstGeom prst="rect">
            <a:avLst/>
          </a:prstGeom>
        </p:spPr>
      </p:pic>
      <p:pic>
        <p:nvPicPr>
          <p:cNvPr id="39" name="Graphic 34" descr="Checkmark with solid fill">
            <a:extLst>
              <a:ext uri="{FF2B5EF4-FFF2-40B4-BE49-F238E27FC236}">
                <a16:creationId xmlns:a16="http://schemas.microsoft.com/office/drawing/2014/main" id="{3D6C9D59-F166-22B0-214A-681C9C5D6F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20284" y="5528186"/>
            <a:ext cx="742336" cy="72594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94F75F0-5245-4FA7-D4C0-9D41479B2A32}"/>
              </a:ext>
            </a:extLst>
          </p:cNvPr>
          <p:cNvSpPr/>
          <p:nvPr/>
        </p:nvSpPr>
        <p:spPr>
          <a:xfrm>
            <a:off x="248478" y="2673555"/>
            <a:ext cx="11693387" cy="3647732"/>
          </a:xfrm>
          <a:prstGeom prst="rect">
            <a:avLst/>
          </a:prstGeom>
          <a:noFill/>
          <a:ln w="28575">
            <a:solidFill>
              <a:srgbClr val="E7732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77406F3D-5FF6-4260-2093-1C938C713955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4 | MODELING</a:t>
            </a:r>
          </a:p>
        </p:txBody>
      </p:sp>
    </p:spTree>
    <p:extLst>
      <p:ext uri="{BB962C8B-B14F-4D97-AF65-F5344CB8AC3E}">
        <p14:creationId xmlns:p14="http://schemas.microsoft.com/office/powerpoint/2010/main" val="26508615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46559E-9618-3017-9939-4F350D76E3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7220" y="1890866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Random Forest without PCA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9FC4B6-7783-03B5-36FD-2E4F8547B7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188410" y="1890865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Decision Tre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E9A84A-D215-AFD6-486B-E07F63D29D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0036" y="5635318"/>
            <a:ext cx="2520606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Neural Network without PC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DAA094-C32D-0F09-B5EC-620A981ADD7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902590" y="1890866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 err="1">
                <a:cs typeface="Arial"/>
              </a:rPr>
              <a:t>XGBoost</a:t>
            </a:r>
            <a:r>
              <a:rPr lang="en-US">
                <a:cs typeface="Arial"/>
              </a:rPr>
              <a:t> without PCA</a:t>
            </a:r>
            <a:endParaRPr lang="en-US" err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FEDD96-D382-FC7C-B19B-E6ACC2F8A45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22714" y="1890865"/>
            <a:ext cx="2561574" cy="635000"/>
          </a:xfrm>
        </p:spPr>
        <p:txBody>
          <a:bodyPr lIns="91440" tIns="45720" rIns="91440" bIns="45720" anchor="ctr"/>
          <a:lstStyle/>
          <a:p>
            <a:r>
              <a:rPr lang="en-US" err="1">
                <a:cs typeface="Arial"/>
              </a:rPr>
              <a:t>LightGBM</a:t>
            </a:r>
            <a:r>
              <a:rPr lang="en-US">
                <a:cs typeface="Arial"/>
              </a:rPr>
              <a:t> without PCA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D7F331-4F63-28FB-0D39-922F116072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Feature Importance</a:t>
            </a:r>
            <a:endParaRPr lang="en-US"/>
          </a:p>
        </p:txBody>
      </p:sp>
      <p:pic>
        <p:nvPicPr>
          <p:cNvPr id="12" name="Picture 12" descr="Table&#10;&#10;Description automatically generated">
            <a:extLst>
              <a:ext uri="{FF2B5EF4-FFF2-40B4-BE49-F238E27FC236}">
                <a16:creationId xmlns:a16="http://schemas.microsoft.com/office/drawing/2014/main" id="{61ADDF77-37E8-7543-D767-981832C6E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787" y="2754784"/>
            <a:ext cx="2579330" cy="2626627"/>
          </a:xfrm>
          <a:prstGeom prst="rect">
            <a:avLst/>
          </a:prstGeom>
        </p:spPr>
      </p:pic>
      <p:pic>
        <p:nvPicPr>
          <p:cNvPr id="15" name="Picture 15" descr="Table&#10;&#10;Description automatically generated">
            <a:extLst>
              <a:ext uri="{FF2B5EF4-FFF2-40B4-BE49-F238E27FC236}">
                <a16:creationId xmlns:a16="http://schemas.microsoft.com/office/drawing/2014/main" id="{50E7F747-74A1-F165-EC00-6235A34CB6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7625" y="2754783"/>
            <a:ext cx="2571137" cy="2626627"/>
          </a:xfrm>
          <a:prstGeom prst="rect">
            <a:avLst/>
          </a:prstGeom>
        </p:spPr>
      </p:pic>
      <p:pic>
        <p:nvPicPr>
          <p:cNvPr id="16" name="Picture 16" descr="Table&#10;&#10;Description automatically generated">
            <a:extLst>
              <a:ext uri="{FF2B5EF4-FFF2-40B4-BE49-F238E27FC236}">
                <a16:creationId xmlns:a16="http://schemas.microsoft.com/office/drawing/2014/main" id="{0B3188FB-8CD4-537E-5602-65D25B361F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7883" y="2754783"/>
            <a:ext cx="2538362" cy="2626627"/>
          </a:xfrm>
          <a:prstGeom prst="rect">
            <a:avLst/>
          </a:prstGeom>
        </p:spPr>
      </p:pic>
      <p:pic>
        <p:nvPicPr>
          <p:cNvPr id="17" name="Picture 17" descr="Table&#10;&#10;Description automatically generated">
            <a:extLst>
              <a:ext uri="{FF2B5EF4-FFF2-40B4-BE49-F238E27FC236}">
                <a16:creationId xmlns:a16="http://schemas.microsoft.com/office/drawing/2014/main" id="{9EDB297C-4CDB-0905-6279-70FDBE4E1B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0787" y="2754783"/>
            <a:ext cx="2579330" cy="262662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353CE0D-65E3-2A68-A487-39087D3CC5F0}"/>
              </a:ext>
            </a:extLst>
          </p:cNvPr>
          <p:cNvSpPr txBox="1"/>
          <p:nvPr/>
        </p:nvSpPr>
        <p:spPr>
          <a:xfrm>
            <a:off x="2990644" y="5637161"/>
            <a:ext cx="394929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Feature importance will not provide any insight for a Neural Network.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818D490-B282-D755-C4D5-0E8D1B5DE6F0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4 | modeling</a:t>
            </a:r>
          </a:p>
        </p:txBody>
      </p:sp>
    </p:spTree>
    <p:extLst>
      <p:ext uri="{BB962C8B-B14F-4D97-AF65-F5344CB8AC3E}">
        <p14:creationId xmlns:p14="http://schemas.microsoft.com/office/powerpoint/2010/main" val="1262282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46559E-9618-3017-9939-4F350D76E33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8897" y="1890867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Random Forest without PCA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9FC4B6-7783-03B5-36FD-2E4F8547B7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8023" y="2800349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Decision Tre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E9A84A-D215-AFD6-486B-E07F63D29D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81713" y="3750802"/>
            <a:ext cx="2520606" cy="635000"/>
          </a:xfrm>
        </p:spPr>
        <p:txBody>
          <a:bodyPr lIns="91440" tIns="45720" rIns="91440" bIns="45720" anchor="ctr"/>
          <a:lstStyle/>
          <a:p>
            <a:r>
              <a:rPr lang="en-US">
                <a:cs typeface="Arial"/>
              </a:rPr>
              <a:t>Neural Network without PC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DAA094-C32D-0F09-B5EC-620A981ADD7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78462" y="4701253"/>
            <a:ext cx="2512413" cy="635000"/>
          </a:xfrm>
        </p:spPr>
        <p:txBody>
          <a:bodyPr lIns="91440" tIns="45720" rIns="91440" bIns="45720" anchor="ctr"/>
          <a:lstStyle/>
          <a:p>
            <a:r>
              <a:rPr lang="en-US" err="1">
                <a:cs typeface="Arial"/>
              </a:rPr>
              <a:t>XGBoost</a:t>
            </a:r>
            <a:r>
              <a:rPr lang="en-US">
                <a:cs typeface="Arial"/>
              </a:rPr>
              <a:t> without PCA</a:t>
            </a:r>
            <a:endParaRPr lang="en-US" err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FEDD96-D382-FC7C-B19B-E6ACC2F8A45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78327" y="5643511"/>
            <a:ext cx="2561574" cy="635000"/>
          </a:xfrm>
        </p:spPr>
        <p:txBody>
          <a:bodyPr lIns="91440" tIns="45720" rIns="91440" bIns="45720" anchor="ctr"/>
          <a:lstStyle/>
          <a:p>
            <a:r>
              <a:rPr lang="en-US" err="1">
                <a:cs typeface="Arial"/>
              </a:rPr>
              <a:t>LightGBM</a:t>
            </a:r>
            <a:r>
              <a:rPr lang="en-US">
                <a:cs typeface="Arial"/>
              </a:rPr>
              <a:t> without PCA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D7F331-4F63-28FB-0D39-922F116072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Ensemble MODEL PERFORMANCE</a:t>
            </a:r>
            <a:endParaRPr lang="en-US"/>
          </a:p>
        </p:txBody>
      </p:sp>
      <p:pic>
        <p:nvPicPr>
          <p:cNvPr id="25" name="Picture 25" descr="A picture containing text&#10;&#10;Description automatically generated">
            <a:extLst>
              <a:ext uri="{FF2B5EF4-FFF2-40B4-BE49-F238E27FC236}">
                <a16:creationId xmlns:a16="http://schemas.microsoft.com/office/drawing/2014/main" id="{57648CE6-1074-2973-193A-B07C2EA12A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722" y="1965048"/>
            <a:ext cx="2743200" cy="486229"/>
          </a:xfrm>
          <a:prstGeom prst="rect">
            <a:avLst/>
          </a:prstGeom>
        </p:spPr>
      </p:pic>
      <p:pic>
        <p:nvPicPr>
          <p:cNvPr id="26" name="Picture 26" descr="A picture containing text&#10;&#10;Description automatically generated">
            <a:extLst>
              <a:ext uri="{FF2B5EF4-FFF2-40B4-BE49-F238E27FC236}">
                <a16:creationId xmlns:a16="http://schemas.microsoft.com/office/drawing/2014/main" id="{B29F7D98-CD54-B72B-7CF3-8F6ABAA56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4723" y="2874531"/>
            <a:ext cx="2743200" cy="486229"/>
          </a:xfrm>
          <a:prstGeom prst="rect">
            <a:avLst/>
          </a:prstGeom>
        </p:spPr>
      </p:pic>
      <p:pic>
        <p:nvPicPr>
          <p:cNvPr id="27" name="Picture 27">
            <a:extLst>
              <a:ext uri="{FF2B5EF4-FFF2-40B4-BE49-F238E27FC236}">
                <a16:creationId xmlns:a16="http://schemas.microsoft.com/office/drawing/2014/main" id="{0733F529-CD01-7842-9DAC-60B7A1E763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4723" y="3824983"/>
            <a:ext cx="2743200" cy="486229"/>
          </a:xfrm>
          <a:prstGeom prst="rect">
            <a:avLst/>
          </a:prstGeom>
        </p:spPr>
      </p:pic>
      <p:pic>
        <p:nvPicPr>
          <p:cNvPr id="28" name="Picture 28">
            <a:extLst>
              <a:ext uri="{FF2B5EF4-FFF2-40B4-BE49-F238E27FC236}">
                <a16:creationId xmlns:a16="http://schemas.microsoft.com/office/drawing/2014/main" id="{9F3D77EA-4C87-1113-C134-A620325A80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0270" y="4775435"/>
            <a:ext cx="2743200" cy="486229"/>
          </a:xfrm>
          <a:prstGeom prst="rect">
            <a:avLst/>
          </a:prstGeom>
        </p:spPr>
      </p:pic>
      <p:pic>
        <p:nvPicPr>
          <p:cNvPr id="29" name="Picture 29" descr="A picture containing text&#10;&#10;Description automatically generated">
            <a:extLst>
              <a:ext uri="{FF2B5EF4-FFF2-40B4-BE49-F238E27FC236}">
                <a16:creationId xmlns:a16="http://schemas.microsoft.com/office/drawing/2014/main" id="{8A740D18-04E2-1FEC-1B0D-EF6A3F5032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8594" y="5717693"/>
            <a:ext cx="2743200" cy="486229"/>
          </a:xfrm>
          <a:prstGeom prst="rect">
            <a:avLst/>
          </a:prstGeom>
        </p:spPr>
      </p:pic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0C4CD8F-6ECC-3686-5367-A5CEE9C0EC65}"/>
              </a:ext>
            </a:extLst>
          </p:cNvPr>
          <p:cNvSpPr txBox="1">
            <a:spLocks/>
          </p:cNvSpPr>
          <p:nvPr/>
        </p:nvSpPr>
        <p:spPr>
          <a:xfrm>
            <a:off x="6102910" y="3747525"/>
            <a:ext cx="2512413" cy="635000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91440" tIns="45720" rIns="91440" bIns="4572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cs typeface="Arial"/>
              </a:rPr>
              <a:t>OLS Ensemble</a:t>
            </a:r>
            <a:endParaRPr lang="en-US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5AFF903F-0D70-1149-23CA-BC572EBF1D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90077" y="3850383"/>
            <a:ext cx="2743200" cy="435429"/>
          </a:xfrm>
          <a:prstGeom prst="rect">
            <a:avLst/>
          </a:prstGeom>
        </p:spPr>
      </p:pic>
      <p:pic>
        <p:nvPicPr>
          <p:cNvPr id="10" name="Graphic 34" descr="Checkmark with solid fill">
            <a:extLst>
              <a:ext uri="{FF2B5EF4-FFF2-40B4-BE49-F238E27FC236}">
                <a16:creationId xmlns:a16="http://schemas.microsoft.com/office/drawing/2014/main" id="{1A0E2304-C353-3495-447F-EF729A89B6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300542" y="3660057"/>
            <a:ext cx="742336" cy="725949"/>
          </a:xfrm>
          <a:prstGeom prst="rect">
            <a:avLst/>
          </a:prstGeom>
        </p:spPr>
      </p:pic>
      <p:sp>
        <p:nvSpPr>
          <p:cNvPr id="11" name="Right Brace 10">
            <a:extLst>
              <a:ext uri="{FF2B5EF4-FFF2-40B4-BE49-F238E27FC236}">
                <a16:creationId xmlns:a16="http://schemas.microsoft.com/office/drawing/2014/main" id="{9FAEFAE5-E3F6-2665-7BDA-F73350F21F85}"/>
              </a:ext>
            </a:extLst>
          </p:cNvPr>
          <p:cNvSpPr/>
          <p:nvPr/>
        </p:nvSpPr>
        <p:spPr>
          <a:xfrm>
            <a:off x="5719096" y="1941870"/>
            <a:ext cx="458838" cy="4260645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D596157-0D27-A2EA-876A-7432222EE776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4 | modeling</a:t>
            </a:r>
          </a:p>
        </p:txBody>
      </p:sp>
    </p:spTree>
    <p:extLst>
      <p:ext uri="{BB962C8B-B14F-4D97-AF65-F5344CB8AC3E}">
        <p14:creationId xmlns:p14="http://schemas.microsoft.com/office/powerpoint/2010/main" val="23838238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99E8A8-035F-704F-62E6-F58784A3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Finding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77EF1-9F1F-32CC-5ABC-EDAE8F4C6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0245342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549951-F9B0-0957-AC95-ABF2AA8A3E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3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2549951-F9B0-0957-AC95-ABF2AA8A3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7">
            <a:extLst>
              <a:ext uri="{FF2B5EF4-FFF2-40B4-BE49-F238E27FC236}">
                <a16:creationId xmlns:a16="http://schemas.microsoft.com/office/drawing/2014/main" id="{89824344-90AA-B94D-18A8-6B767FACD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56243"/>
            <a:ext cx="11254520" cy="1126345"/>
          </a:xfrm>
        </p:spPr>
        <p:txBody>
          <a:bodyPr vert="horz"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Test PERFORMANCE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E360D3C-E825-7657-1427-E7A3723D4DEE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5 | findings</a:t>
            </a:r>
          </a:p>
        </p:txBody>
      </p:sp>
      <p:grpSp>
        <p:nvGrpSpPr>
          <p:cNvPr id="5" name="convertedtitle__637369715831706015">
            <a:extLst>
              <a:ext uri="{FF2B5EF4-FFF2-40B4-BE49-F238E27FC236}">
                <a16:creationId xmlns:a16="http://schemas.microsoft.com/office/drawing/2014/main" id="{E9276B28-3C02-2817-D9A4-25AF175D3F5E}"/>
              </a:ext>
            </a:extLst>
          </p:cNvPr>
          <p:cNvGrpSpPr/>
          <p:nvPr/>
        </p:nvGrpSpPr>
        <p:grpSpPr>
          <a:xfrm>
            <a:off x="603068" y="1441449"/>
            <a:ext cx="4903721" cy="288147"/>
            <a:chOff x="2832361" y="2160328"/>
            <a:chExt cx="3534683" cy="184982"/>
          </a:xfrm>
        </p:grpSpPr>
        <p:sp>
          <p:nvSpPr>
            <p:cNvPr id="7" name="Arrow: Left-Right 6">
              <a:extLst>
                <a:ext uri="{FF2B5EF4-FFF2-40B4-BE49-F238E27FC236}">
                  <a16:creationId xmlns:a16="http://schemas.microsoft.com/office/drawing/2014/main" id="{6C411B62-E525-F606-3AC0-C2505DD71243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Feature Importance Within Model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1EB8877-3EDB-95E6-CA76-02B4A3EC24E0}"/>
                </a:ext>
              </a:extLst>
            </p:cNvPr>
            <p:cNvCxnSpPr>
              <a:stCxn id="7" idx="4"/>
              <a:endCxn id="7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convertedtitle__637369715831855678">
            <a:extLst>
              <a:ext uri="{FF2B5EF4-FFF2-40B4-BE49-F238E27FC236}">
                <a16:creationId xmlns:a16="http://schemas.microsoft.com/office/drawing/2014/main" id="{928D6A7B-85AA-21BE-6203-62AE576C09DA}"/>
              </a:ext>
            </a:extLst>
          </p:cNvPr>
          <p:cNvGrpSpPr/>
          <p:nvPr/>
        </p:nvGrpSpPr>
        <p:grpSpPr>
          <a:xfrm>
            <a:off x="6680163" y="1441449"/>
            <a:ext cx="4903721" cy="288147"/>
            <a:chOff x="2832361" y="2160328"/>
            <a:chExt cx="3534683" cy="184982"/>
          </a:xfrm>
        </p:grpSpPr>
        <p:sp>
          <p:nvSpPr>
            <p:cNvPr id="13" name="Arrow: Left-Right 12">
              <a:extLst>
                <a:ext uri="{FF2B5EF4-FFF2-40B4-BE49-F238E27FC236}">
                  <a16:creationId xmlns:a16="http://schemas.microsoft.com/office/drawing/2014/main" id="{50901FDA-324E-20D2-6631-91DE9BB662BE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DDA736B-7DA3-3321-37E4-E60B7543D493}"/>
                </a:ext>
              </a:extLst>
            </p:cNvPr>
            <p:cNvCxnSpPr>
              <a:stCxn id="13" idx="4"/>
              <a:endCxn id="13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2">
            <a:extLst>
              <a:ext uri="{FF2B5EF4-FFF2-40B4-BE49-F238E27FC236}">
                <a16:creationId xmlns:a16="http://schemas.microsoft.com/office/drawing/2014/main" id="{38B5F55B-E4A1-BD99-F4FA-7749856B44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4753" y="1882588"/>
            <a:ext cx="4974577" cy="41647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The OLS Ensemble is a powerful tool to test the performance of a housing pricing model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The r2 score indicates that the model is able to capture 96.8% of the variability in housing prices 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The RMSLE score indicates that the model is able to produce results with an accuracy of 7.11%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Both scores are very good, suggesting that the model can accurately predict housing price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sz="1600">
                <a:solidFill>
                  <a:srgbClr val="2E2E38"/>
                </a:solidFill>
              </a:rPr>
              <a:t>Final model performance in Kaggle on test data achieved an </a:t>
            </a:r>
            <a:r>
              <a:rPr lang="en-US" sz="1600" b="1">
                <a:solidFill>
                  <a:srgbClr val="2E2E38"/>
                </a:solidFill>
              </a:rPr>
              <a:t>RMSLE of 0.28287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DB2976-18C0-39CB-4858-EEB0ACA24EAC}"/>
              </a:ext>
            </a:extLst>
          </p:cNvPr>
          <p:cNvGrpSpPr/>
          <p:nvPr/>
        </p:nvGrpSpPr>
        <p:grpSpPr>
          <a:xfrm>
            <a:off x="5944498" y="1809750"/>
            <a:ext cx="291426" cy="4267838"/>
            <a:chOff x="5944498" y="1809750"/>
            <a:chExt cx="291426" cy="426783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0B984DE-5A09-C4B7-6973-3072767BF8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DED8967-BD49-0813-A952-D7204943988A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8C3DAD99-CF9F-DA40-37FC-200FA2BF3D43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Graphic 16">
                <a:extLst>
                  <a:ext uri="{FF2B5EF4-FFF2-40B4-BE49-F238E27FC236}">
                    <a16:creationId xmlns:a16="http://schemas.microsoft.com/office/drawing/2014/main" id="{3C5CFA84-83DE-8A89-424B-D9CBF0C600F2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pic>
        <p:nvPicPr>
          <p:cNvPr id="21" name="Picture 5" descr="Text&#10;&#10;Description automatically generated">
            <a:extLst>
              <a:ext uri="{FF2B5EF4-FFF2-40B4-BE49-F238E27FC236}">
                <a16:creationId xmlns:a16="http://schemas.microsoft.com/office/drawing/2014/main" id="{7318B9FE-FCF0-91C7-B02D-52D6AE86FE6A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6"/>
          <a:stretch>
            <a:fillRect/>
          </a:stretch>
        </p:blipFill>
        <p:spPr>
          <a:xfrm>
            <a:off x="776025" y="1764141"/>
            <a:ext cx="4721225" cy="4568069"/>
          </a:xfrm>
        </p:spPr>
      </p:pic>
    </p:spTree>
    <p:extLst>
      <p:ext uri="{BB962C8B-B14F-4D97-AF65-F5344CB8AC3E}">
        <p14:creationId xmlns:p14="http://schemas.microsoft.com/office/powerpoint/2010/main" val="30838551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A219161-3509-43C4-E1BC-FD105E1E8D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94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A219161-3509-43C4-E1BC-FD105E1E8D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F089093-D801-0139-FB7E-65D72CF72D5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07709" y="1670050"/>
            <a:ext cx="11242614" cy="3675079"/>
          </a:xfrm>
        </p:spPr>
        <p:txBody>
          <a:bodyPr lIns="0" tIns="45720" rIns="0" bIns="45720" anchor="t"/>
          <a:lstStyle/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Our team concluded the experiment with a predicted model performing at 96.8% control over the response variable due to a change in input variables and an RMSLE of 0.28287 with the test data in Kaggle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The advanced regression techniques utilized, including </a:t>
            </a:r>
            <a:r>
              <a:rPr lang="en-US" kern="0" err="1">
                <a:solidFill>
                  <a:srgbClr val="2E2E38"/>
                </a:solidFill>
                <a:latin typeface="Arial"/>
              </a:rPr>
              <a:t>XGBoost</a:t>
            </a:r>
            <a:r>
              <a:rPr lang="en-US" kern="0">
                <a:solidFill>
                  <a:srgbClr val="2E2E38"/>
                </a:solidFill>
                <a:latin typeface="Arial"/>
              </a:rPr>
              <a:t>, random forest, and decision tree, resulted in significant reduction in RMSE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Despite a performance of 0.28287 with the test data, there continues to be scope for improving the model: </a:t>
            </a:r>
          </a:p>
          <a:p>
            <a:pPr lvl="1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Enhance selection of variables with data subset</a:t>
            </a:r>
          </a:p>
          <a:p>
            <a:pPr lvl="1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Expand training data to larger sample size</a:t>
            </a:r>
          </a:p>
          <a:p>
            <a:pPr lvl="1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Further consolidate similar data features</a:t>
            </a:r>
          </a:p>
          <a:p>
            <a:pPr marL="180975" lvl="1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endParaRPr lang="en-US" kern="0">
              <a:solidFill>
                <a:srgbClr val="2E2E38"/>
              </a:solidFill>
              <a:latin typeface="Arial"/>
            </a:endParaRP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B93663E6-2E51-F0E6-1B94-3F90E949D89E}"/>
              </a:ext>
            </a:extLst>
          </p:cNvPr>
          <p:cNvSpPr txBox="1">
            <a:spLocks/>
          </p:cNvSpPr>
          <p:nvPr/>
        </p:nvSpPr>
        <p:spPr>
          <a:xfrm>
            <a:off x="480280" y="756243"/>
            <a:ext cx="11254520" cy="1126345"/>
          </a:xfrm>
          <a:prstGeom prst="rect">
            <a:avLst/>
          </a:prstGeom>
        </p:spPr>
        <p:txBody>
          <a:bodyPr vert="horz" lIns="0" tIns="45720" rIns="0" bIns="4572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cap="all" spc="300" baseline="0">
                <a:solidFill>
                  <a:schemeClr val="accent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>
                <a:cs typeface="Arial"/>
              </a:rPr>
              <a:t>Modeling findings for </a:t>
            </a:r>
            <a:r>
              <a:rPr lang="en-US" err="1">
                <a:cs typeface="Arial"/>
              </a:rPr>
              <a:t>zillow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590C11C-0C74-7A04-A111-9576D177EF7F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5 | findings</a:t>
            </a:r>
          </a:p>
        </p:txBody>
      </p:sp>
    </p:spTree>
    <p:extLst>
      <p:ext uri="{BB962C8B-B14F-4D97-AF65-F5344CB8AC3E}">
        <p14:creationId xmlns:p14="http://schemas.microsoft.com/office/powerpoint/2010/main" val="36335544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7E026A2-30DB-8B44-0FB9-B52013DE3A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516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7E026A2-30DB-8B44-0FB9-B52013DE3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6F57E34-9FC9-E0A2-69F3-31528CDD9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Zillow home buying program prior iss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F50675-CDDA-FD55-8A42-AFBA5B9F61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0 | introduction</a:t>
            </a:r>
          </a:p>
        </p:txBody>
      </p:sp>
      <p:pic>
        <p:nvPicPr>
          <p:cNvPr id="10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8E7D6BF-36DA-3A25-3FBF-DA7EE65467D4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6"/>
          <a:stretch>
            <a:fillRect/>
          </a:stretch>
        </p:blipFill>
        <p:spPr>
          <a:xfrm>
            <a:off x="457200" y="1882587"/>
            <a:ext cx="11242614" cy="1636856"/>
          </a:xfrm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2E2C14D4-97D7-5BD7-5967-7591050EFC3D}"/>
              </a:ext>
            </a:extLst>
          </p:cNvPr>
          <p:cNvSpPr txBox="1">
            <a:spLocks/>
          </p:cNvSpPr>
          <p:nvPr/>
        </p:nvSpPr>
        <p:spPr>
          <a:xfrm>
            <a:off x="480280" y="3519442"/>
            <a:ext cx="11242614" cy="2236923"/>
          </a:xfrm>
          <a:prstGeom prst="rect">
            <a:avLst/>
          </a:prstGeom>
        </p:spPr>
        <p:txBody>
          <a:bodyPr lIns="0" rIns="0"/>
          <a:lstStyle>
            <a:lvl1pPr marL="283464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/>
              <a:buChar char="•"/>
              <a:defRPr sz="1800" kern="1200">
                <a:solidFill>
                  <a:srgbClr val="232D4B"/>
                </a:solidFill>
                <a:latin typeface="+mn-lt"/>
                <a:ea typeface="+mn-ea"/>
                <a:cs typeface="+mn-cs"/>
              </a:defRPr>
            </a:lvl1pPr>
            <a:lvl2pPr marL="566928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 kern="1200">
                <a:solidFill>
                  <a:srgbClr val="232D4B"/>
                </a:solidFill>
                <a:latin typeface="+mn-lt"/>
                <a:ea typeface="+mn-ea"/>
                <a:cs typeface="+mn-cs"/>
              </a:defRPr>
            </a:lvl2pPr>
            <a:lvl3pPr marL="822960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/>
              <a:buChar char="•"/>
              <a:defRPr sz="1800" kern="1200">
                <a:solidFill>
                  <a:srgbClr val="232D4B"/>
                </a:solidFill>
                <a:latin typeface="+mn-lt"/>
                <a:ea typeface="+mn-ea"/>
                <a:cs typeface="+mn-cs"/>
              </a:defRPr>
            </a:lvl3pPr>
            <a:lvl4pPr marL="1097280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 kern="1200">
                <a:solidFill>
                  <a:srgbClr val="232D4B"/>
                </a:solidFill>
                <a:latin typeface="+mn-lt"/>
                <a:ea typeface="+mn-ea"/>
                <a:cs typeface="+mn-cs"/>
              </a:defRPr>
            </a:lvl4pPr>
            <a:lvl5pPr marL="1371600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/>
              <a:buChar char="•"/>
              <a:defRPr sz="1800" kern="1200">
                <a:solidFill>
                  <a:srgbClr val="232D4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Zillow failed to accurately predict price changes with its algorithmic approach</a:t>
            </a:r>
          </a:p>
          <a:p>
            <a:r>
              <a:rPr lang="en-US"/>
              <a:t>Zillow lost about $25K on each sell</a:t>
            </a:r>
          </a:p>
          <a:p>
            <a:r>
              <a:rPr lang="en-US"/>
              <a:t>Our project aims to develop a model that will more accurately reflect house price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6261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3CE5FFB-17BC-CDD2-C00B-78DD6F64AA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54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1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3CE5FFB-17BC-CDD2-C00B-78DD6F64A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51" y="853004"/>
            <a:ext cx="11242425" cy="618345"/>
          </a:xfrm>
        </p:spPr>
        <p:txBody>
          <a:bodyPr vert="horz"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Strengths and weakness of ensemble</a:t>
            </a:r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AD2701-2ABA-12B2-30DE-A50900C2E27C}"/>
              </a:ext>
            </a:extLst>
          </p:cNvPr>
          <p:cNvCxnSpPr/>
          <p:nvPr/>
        </p:nvCxnSpPr>
        <p:spPr>
          <a:xfrm>
            <a:off x="592818" y="1796294"/>
            <a:ext cx="31447" cy="4579256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585CFFE-ED6E-15C4-8F62-5C4285E83E23}"/>
              </a:ext>
            </a:extLst>
          </p:cNvPr>
          <p:cNvCxnSpPr>
            <a:cxnSpLocks/>
          </p:cNvCxnSpPr>
          <p:nvPr/>
        </p:nvCxnSpPr>
        <p:spPr>
          <a:xfrm>
            <a:off x="5249482" y="1735817"/>
            <a:ext cx="19353" cy="4639732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CCA88DF-D5CB-CA3F-C764-B71A3FBFE2B0}"/>
              </a:ext>
            </a:extLst>
          </p:cNvPr>
          <p:cNvCxnSpPr>
            <a:cxnSpLocks/>
          </p:cNvCxnSpPr>
          <p:nvPr/>
        </p:nvCxnSpPr>
        <p:spPr>
          <a:xfrm flipH="1">
            <a:off x="648453" y="6356197"/>
            <a:ext cx="4588934" cy="55636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278E09C-AB93-257F-F332-5C8C7BF9ECF7}"/>
              </a:ext>
            </a:extLst>
          </p:cNvPr>
          <p:cNvCxnSpPr>
            <a:cxnSpLocks/>
          </p:cNvCxnSpPr>
          <p:nvPr/>
        </p:nvCxnSpPr>
        <p:spPr>
          <a:xfrm flipH="1" flipV="1">
            <a:off x="4264926" y="1743069"/>
            <a:ext cx="984554" cy="4841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FA0F9B6-99AC-5CC5-0A9E-B3C81C129A79}"/>
              </a:ext>
            </a:extLst>
          </p:cNvPr>
          <p:cNvSpPr/>
          <p:nvPr/>
        </p:nvSpPr>
        <p:spPr>
          <a:xfrm>
            <a:off x="1727504" y="1527930"/>
            <a:ext cx="2281160" cy="43059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  <a:cs typeface="Arial"/>
              </a:rPr>
              <a:t>Strength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8746A9-E886-E604-FDA8-C1961ED18C5F}"/>
              </a:ext>
            </a:extLst>
          </p:cNvPr>
          <p:cNvSpPr txBox="1"/>
          <p:nvPr/>
        </p:nvSpPr>
        <p:spPr>
          <a:xfrm>
            <a:off x="624113" y="2027162"/>
            <a:ext cx="4521199" cy="40164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buFont typeface="Arial"/>
              <a:buChar char="•"/>
            </a:pPr>
            <a:r>
              <a:rPr lang="en-US" sz="1700">
                <a:ea typeface="+mn-lt"/>
                <a:cs typeface="+mn-lt"/>
              </a:rPr>
              <a:t>Highly flexible given the ensemble approach</a:t>
            </a:r>
            <a:endParaRPr lang="en-US" sz="17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endParaRPr lang="en-US" sz="17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700">
                <a:cs typeface="Arial"/>
              </a:rPr>
              <a:t>Explains significant amount of the variance in the data, as well as its accuracy in predicating housing prices</a:t>
            </a:r>
          </a:p>
          <a:p>
            <a:pPr marL="285750" indent="-285750" algn="just">
              <a:buFont typeface="Arial"/>
              <a:buChar char="•"/>
            </a:pPr>
            <a:endParaRPr lang="en-US" sz="17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700">
                <a:cs typeface="Arial"/>
              </a:rPr>
              <a:t>Able to reduce the amount of bias as compared to using a single model type</a:t>
            </a:r>
          </a:p>
          <a:p>
            <a:pPr marL="285750" indent="-285750" algn="just">
              <a:buFont typeface="Arial"/>
              <a:buChar char="•"/>
            </a:pPr>
            <a:endParaRPr lang="en-US" sz="17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700">
                <a:cs typeface="Arial"/>
              </a:rPr>
              <a:t>Effective at prediction with the non-linear data available</a:t>
            </a:r>
          </a:p>
          <a:p>
            <a:pPr algn="just"/>
            <a:endParaRPr lang="en-US" sz="17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700">
                <a:cs typeface="Arial"/>
              </a:rPr>
              <a:t>Utilizes both categorical and numerical features to enhance predi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90E2E7-4966-16F1-D0F2-79B6EE34FA34}"/>
              </a:ext>
            </a:extLst>
          </p:cNvPr>
          <p:cNvSpPr txBox="1"/>
          <p:nvPr/>
        </p:nvSpPr>
        <p:spPr>
          <a:xfrm>
            <a:off x="6236303" y="2027163"/>
            <a:ext cx="4896151" cy="30982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buFont typeface="Arial"/>
              <a:buChar char="•"/>
            </a:pPr>
            <a:r>
              <a:rPr lang="en-US" sz="1700">
                <a:cs typeface="Arial"/>
              </a:rPr>
              <a:t>Limited to those categorical variables included in the encoding process, so is less effective at capturing new categories that may appear in future test data</a:t>
            </a:r>
          </a:p>
          <a:p>
            <a:pPr algn="just"/>
            <a:endParaRPr lang="en-US" sz="1700">
              <a:cs typeface="Arial"/>
            </a:endParaRPr>
          </a:p>
          <a:p>
            <a:pPr marL="285750" indent="-285750" algn="just">
              <a:spcAft>
                <a:spcPts val="1000"/>
              </a:spcAft>
              <a:buFont typeface="Arial"/>
              <a:buChar char="•"/>
            </a:pPr>
            <a:r>
              <a:rPr lang="en-US" sz="1700">
                <a:cs typeface="Arial"/>
              </a:rPr>
              <a:t>Specific to the Ames housing market, requiring retraining as the model is expanded into different markets</a:t>
            </a:r>
            <a:endParaRPr lang="en-US" sz="1700">
              <a:ea typeface="+mn-lt"/>
              <a:cs typeface="+mn-lt"/>
            </a:endParaRPr>
          </a:p>
          <a:p>
            <a:pPr marL="285750" indent="-285750" algn="just">
              <a:spcAft>
                <a:spcPts val="1000"/>
              </a:spcAft>
              <a:buFont typeface="Arial"/>
              <a:buChar char="•"/>
            </a:pPr>
            <a:r>
              <a:rPr lang="en-US" sz="1700">
                <a:ea typeface="+mn-lt"/>
                <a:cs typeface="+mn-lt"/>
              </a:rPr>
              <a:t>Model parameters </a:t>
            </a:r>
            <a:r>
              <a:rPr lang="en-US" sz="1700"/>
              <a:t>chosen may not be optimal, leading to suboptimal results in the tes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D3B24F6-A8B2-22C1-F9D1-857D074047BE}"/>
              </a:ext>
            </a:extLst>
          </p:cNvPr>
          <p:cNvCxnSpPr>
            <a:cxnSpLocks/>
          </p:cNvCxnSpPr>
          <p:nvPr/>
        </p:nvCxnSpPr>
        <p:spPr>
          <a:xfrm>
            <a:off x="11248719" y="1687434"/>
            <a:ext cx="19353" cy="4688113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2901BD5-6B58-90DA-1180-D538BC74781B}"/>
              </a:ext>
            </a:extLst>
          </p:cNvPr>
          <p:cNvCxnSpPr>
            <a:cxnSpLocks/>
          </p:cNvCxnSpPr>
          <p:nvPr/>
        </p:nvCxnSpPr>
        <p:spPr>
          <a:xfrm flipH="1">
            <a:off x="6236449" y="1723719"/>
            <a:ext cx="960366" cy="19349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2F6F3FC-E1F8-ECD3-F43E-1CEE61E618AB}"/>
              </a:ext>
            </a:extLst>
          </p:cNvPr>
          <p:cNvCxnSpPr>
            <a:cxnSpLocks/>
          </p:cNvCxnSpPr>
          <p:nvPr/>
        </p:nvCxnSpPr>
        <p:spPr>
          <a:xfrm flipH="1" flipV="1">
            <a:off x="10215784" y="1682593"/>
            <a:ext cx="972458" cy="4840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9D2C5BD-BEAD-2150-C6F2-58ABBF63FCCD}"/>
              </a:ext>
            </a:extLst>
          </p:cNvPr>
          <p:cNvSpPr/>
          <p:nvPr/>
        </p:nvSpPr>
        <p:spPr>
          <a:xfrm>
            <a:off x="7629977" y="1527930"/>
            <a:ext cx="2281160" cy="43059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  <a:cs typeface="Arial"/>
              </a:rPr>
              <a:t>Weakness</a:t>
            </a:r>
            <a:endParaRPr lang="en-US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929DBB7-EB56-78E5-B84C-C6889BC39063}"/>
              </a:ext>
            </a:extLst>
          </p:cNvPr>
          <p:cNvCxnSpPr>
            <a:cxnSpLocks/>
          </p:cNvCxnSpPr>
          <p:nvPr/>
        </p:nvCxnSpPr>
        <p:spPr>
          <a:xfrm flipH="1" flipV="1">
            <a:off x="6236452" y="6339261"/>
            <a:ext cx="5012269" cy="65315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D92EB4F-3611-F098-7620-DA38DBEE7A10}"/>
              </a:ext>
            </a:extLst>
          </p:cNvPr>
          <p:cNvCxnSpPr>
            <a:cxnSpLocks/>
          </p:cNvCxnSpPr>
          <p:nvPr/>
        </p:nvCxnSpPr>
        <p:spPr>
          <a:xfrm flipH="1">
            <a:off x="600068" y="1784196"/>
            <a:ext cx="754747" cy="7255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D202255-BFBE-F5CF-CCC0-23E9C60524F5}"/>
              </a:ext>
            </a:extLst>
          </p:cNvPr>
          <p:cNvCxnSpPr>
            <a:cxnSpLocks/>
          </p:cNvCxnSpPr>
          <p:nvPr/>
        </p:nvCxnSpPr>
        <p:spPr>
          <a:xfrm>
            <a:off x="6217100" y="1735816"/>
            <a:ext cx="19353" cy="4639732"/>
          </a:xfrm>
          <a:prstGeom prst="straightConnector1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0BE54D-3FD3-0623-F3E6-E364FFA2D44A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5 | findings</a:t>
            </a:r>
          </a:p>
        </p:txBody>
      </p:sp>
    </p:spTree>
    <p:extLst>
      <p:ext uri="{BB962C8B-B14F-4D97-AF65-F5344CB8AC3E}">
        <p14:creationId xmlns:p14="http://schemas.microsoft.com/office/powerpoint/2010/main" val="23361290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99E8A8-035F-704F-62E6-F58784A3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77EF1-9F1F-32CC-5ABC-EDAE8F4C6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6940961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FFF79B-D87D-A4E2-0720-E896562D8D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403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49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FFF79B-D87D-A4E2-0720-E896562D8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258F4F8-FD96-2A9F-7359-331BC5A4A3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89138" y="2632201"/>
            <a:ext cx="10976518" cy="3075785"/>
          </a:xfrm>
        </p:spPr>
        <p:txBody>
          <a:bodyPr lIns="0" tIns="45720" rIns="0" bIns="45720" anchor="t"/>
          <a:lstStyle/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The model was able to identify important features that affect housing prices, such as house type, number of bedrooms, overall quality, total living area, and neighborhood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The findings from this model can provide a better understanding of the various elements that affect the sale price of a home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This can be useful for Zillow in reinvigorating the home buying program you make decisions on our offer to home buyers</a:t>
            </a:r>
          </a:p>
          <a:p>
            <a:pPr marL="180975" indent="-180975" defTabSz="990576">
              <a:spcBef>
                <a:spcPct val="50000"/>
              </a:spcBef>
              <a:spcAft>
                <a:spcPts val="244"/>
              </a:spcAft>
              <a:buSzPct val="75000"/>
              <a:buFont typeface="Wingdings 3" panose="05040102010807070707" pitchFamily="18" charset="2"/>
              <a:buChar char=""/>
              <a:defRPr/>
            </a:pPr>
            <a:r>
              <a:rPr lang="en-US" kern="0">
                <a:solidFill>
                  <a:srgbClr val="2E2E38"/>
                </a:solidFill>
                <a:latin typeface="Arial"/>
              </a:rPr>
              <a:t>Extrapolate model to regions outside of Ames, Iowa to determine house price sales and reinvigorate home purchase progra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5F9436-CCF7-5AD1-7B91-8AFA3EBE0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137" y="732051"/>
            <a:ext cx="11254520" cy="545774"/>
          </a:xfrm>
        </p:spPr>
        <p:txBody>
          <a:bodyPr vert="horz"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Conclusion &amp; Zillow results</a:t>
            </a:r>
            <a:endParaRPr lang="en-US"/>
          </a:p>
        </p:txBody>
      </p:sp>
      <p:sp>
        <p:nvSpPr>
          <p:cNvPr id="10" name="Scroll: Horizontal 9">
            <a:extLst>
              <a:ext uri="{FF2B5EF4-FFF2-40B4-BE49-F238E27FC236}">
                <a16:creationId xmlns:a16="http://schemas.microsoft.com/office/drawing/2014/main" id="{8B2E2AE5-3FBB-F7DC-22B7-0EBEEFF4584D}"/>
              </a:ext>
            </a:extLst>
          </p:cNvPr>
          <p:cNvSpPr/>
          <p:nvPr/>
        </p:nvSpPr>
        <p:spPr>
          <a:xfrm>
            <a:off x="589137" y="1448802"/>
            <a:ext cx="10940142" cy="1053098"/>
          </a:xfrm>
          <a:prstGeom prst="horizontalScroll">
            <a:avLst/>
          </a:prstGeom>
          <a:noFill/>
          <a:ln w="28575">
            <a:solidFill>
              <a:srgbClr val="E773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FA3618-6672-4C4D-B32E-AB98942727D1}"/>
              </a:ext>
            </a:extLst>
          </p:cNvPr>
          <p:cNvSpPr txBox="1"/>
          <p:nvPr/>
        </p:nvSpPr>
        <p:spPr>
          <a:xfrm>
            <a:off x="675315" y="1601070"/>
            <a:ext cx="1085547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>
                <a:cs typeface="Arial"/>
              </a:rPr>
              <a:t>Type of house (single-family vs. multi-family) and number of bedrooms are significant features to predict future house prices</a:t>
            </a:r>
            <a:endParaRPr lang="en-US" sz="2000">
              <a:ea typeface="+mn-lt"/>
              <a:cs typeface="+mn-lt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D23352E-B574-98D0-A498-EE2E51B5AE02}"/>
              </a:ext>
            </a:extLst>
          </p:cNvPr>
          <p:cNvSpPr txBox="1">
            <a:spLocks/>
          </p:cNvSpPr>
          <p:nvPr/>
        </p:nvSpPr>
        <p:spPr>
          <a:xfrm>
            <a:off x="480280" y="318031"/>
            <a:ext cx="11254520" cy="317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400" b="1" cap="all" spc="300">
                <a:solidFill>
                  <a:srgbClr val="232D4B"/>
                </a:solidFill>
                <a:cs typeface="Arial" charset="0"/>
              </a:rPr>
              <a:t>06 | conclusion</a:t>
            </a:r>
          </a:p>
        </p:txBody>
      </p:sp>
    </p:spTree>
    <p:extLst>
      <p:ext uri="{BB962C8B-B14F-4D97-AF65-F5344CB8AC3E}">
        <p14:creationId xmlns:p14="http://schemas.microsoft.com/office/powerpoint/2010/main" val="8703379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4956464-7DAB-4CF4-9470-E88248BCAB9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CFD4FF-1F42-4067-A296-70682498D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2D29B6-DA7B-4194-8DD5-4263617797B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5095B5-925D-4788-8107-EFD5F982CD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18" y="191760"/>
            <a:ext cx="11807564" cy="64744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562" y="5484443"/>
            <a:ext cx="3922046" cy="889664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/>
        </p:nvSpPr>
        <p:spPr>
          <a:xfrm>
            <a:off x="1455444" y="2337847"/>
            <a:ext cx="9281112" cy="1207383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chemeClr val="bg1"/>
                </a:solidFill>
                <a:latin typeface="+mn-lt"/>
              </a:rPr>
              <a:t>Thank You.</a:t>
            </a:r>
            <a:endParaRPr lang="en-US" sz="36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64067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99E8A8-035F-704F-62E6-F58784A3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approa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77EF1-9F1F-32CC-5ABC-EDAE8F4C6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71016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589FDC-2C02-2121-7204-DB67010032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589FDC-2C02-2121-7204-DB6701003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263EB24-4EBD-C158-9509-5F238A94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80" y="756242"/>
            <a:ext cx="11254520" cy="618345"/>
          </a:xfrm>
        </p:spPr>
        <p:txBody>
          <a:bodyPr vert="horz" lIns="0" tIns="45720" rIns="0" bIns="45720" anchor="t">
            <a:noAutofit/>
          </a:bodyPr>
          <a:lstStyle/>
          <a:p>
            <a:r>
              <a:rPr lang="en-US">
                <a:cs typeface="Arial"/>
              </a:rPr>
              <a:t>CRISP-DM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82EFFE-6FF7-2CE6-AB54-1FCBDBE640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1 |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79DD9-378D-246C-93AB-A03FBACF2B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1" name="Diagram 21">
            <a:extLst>
              <a:ext uri="{FF2B5EF4-FFF2-40B4-BE49-F238E27FC236}">
                <a16:creationId xmlns:a16="http://schemas.microsoft.com/office/drawing/2014/main" id="{15B6C682-4F3F-EFA1-511F-92AF262156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864974"/>
              </p:ext>
            </p:extLst>
          </p:nvPr>
        </p:nvGraphicFramePr>
        <p:xfrm>
          <a:off x="2783417" y="1504951"/>
          <a:ext cx="6127749" cy="4144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7" name="Graphic 17" descr="Database outline">
            <a:extLst>
              <a:ext uri="{FF2B5EF4-FFF2-40B4-BE49-F238E27FC236}">
                <a16:creationId xmlns:a16="http://schemas.microsoft.com/office/drawing/2014/main" id="{8DAD8A01-BC65-3742-2C7F-94A13EB6F2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37717" y="3014133"/>
            <a:ext cx="914400" cy="914400"/>
          </a:xfrm>
          <a:prstGeom prst="rect">
            <a:avLst/>
          </a:prstGeom>
        </p:spPr>
      </p:pic>
      <p:sp>
        <p:nvSpPr>
          <p:cNvPr id="628" name="TextBox 627">
            <a:extLst>
              <a:ext uri="{FF2B5EF4-FFF2-40B4-BE49-F238E27FC236}">
                <a16:creationId xmlns:a16="http://schemas.microsoft.com/office/drawing/2014/main" id="{03A222EC-C28C-AA0D-7794-53327DB61F6C}"/>
              </a:ext>
            </a:extLst>
          </p:cNvPr>
          <p:cNvSpPr txBox="1"/>
          <p:nvPr/>
        </p:nvSpPr>
        <p:spPr>
          <a:xfrm>
            <a:off x="5572126" y="3873501"/>
            <a:ext cx="73025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>
                <a:cs typeface="Arial"/>
              </a:rPr>
              <a:t>Dat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886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99E8A8-035F-704F-62E6-F58784A3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Exploratory data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77EF1-9F1F-32CC-5ABC-EDAE8F4C6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171999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C344E9-BF11-A684-A7D7-8E47FF2BF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use price distribution</a:t>
            </a:r>
            <a:endParaRPr lang="en-EC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CB71CC-CDA5-454B-1822-8FC9CFF9B5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2 | </a:t>
            </a:r>
            <a:r>
              <a:rPr lang="en-US" err="1"/>
              <a:t>eda</a:t>
            </a: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353C9D0-3B3C-CC9B-A181-563E1EDF5B12}"/>
              </a:ext>
            </a:extLst>
          </p:cNvPr>
          <p:cNvGrpSpPr/>
          <p:nvPr/>
        </p:nvGrpSpPr>
        <p:grpSpPr>
          <a:xfrm>
            <a:off x="7751161" y="1441448"/>
            <a:ext cx="291426" cy="4579267"/>
            <a:chOff x="5944498" y="1809750"/>
            <a:chExt cx="291426" cy="426783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EE61E69-1C6F-1C3D-C5BC-F8C7FF7D78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7D23762-704F-7535-FE65-AC46494A528D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EBD1FE7-B95F-8518-710C-0877BA8B99EC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Graphic 16">
                <a:extLst>
                  <a:ext uri="{FF2B5EF4-FFF2-40B4-BE49-F238E27FC236}">
                    <a16:creationId xmlns:a16="http://schemas.microsoft.com/office/drawing/2014/main" id="{3A225D25-909F-7C15-D974-A5F0A39E89A7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08C28515-04F1-C1EA-B544-7754BDC10742}"/>
              </a:ext>
            </a:extLst>
          </p:cNvPr>
          <p:cNvSpPr>
            <a:spLocks noChangeAspect="1"/>
          </p:cNvSpPr>
          <p:nvPr/>
        </p:nvSpPr>
        <p:spPr>
          <a:xfrm>
            <a:off x="693657" y="1315594"/>
            <a:ext cx="400904" cy="400904"/>
          </a:xfrm>
          <a:prstGeom prst="ellipse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1" tIns="35981" rIns="35981" bIns="35981" rtlCol="0" anchor="ctr" anchorCtr="0"/>
          <a:lstStyle/>
          <a:p>
            <a:pPr algn="ctr"/>
            <a:endParaRPr lang="en-US" sz="1099" err="1">
              <a:solidFill>
                <a:srgbClr val="4B4B4B"/>
              </a:solidFill>
            </a:endParaRPr>
          </a:p>
        </p:txBody>
      </p:sp>
      <p:grpSp>
        <p:nvGrpSpPr>
          <p:cNvPr id="13" name="convertedtitle__637369715831706015">
            <a:extLst>
              <a:ext uri="{FF2B5EF4-FFF2-40B4-BE49-F238E27FC236}">
                <a16:creationId xmlns:a16="http://schemas.microsoft.com/office/drawing/2014/main" id="{2D5B71F0-A274-9A91-9017-BC73C298CE28}"/>
              </a:ext>
            </a:extLst>
          </p:cNvPr>
          <p:cNvGrpSpPr/>
          <p:nvPr/>
        </p:nvGrpSpPr>
        <p:grpSpPr>
          <a:xfrm>
            <a:off x="603068" y="1441449"/>
            <a:ext cx="7008753" cy="294093"/>
            <a:chOff x="2832361" y="2160328"/>
            <a:chExt cx="3534683" cy="184982"/>
          </a:xfrm>
        </p:grpSpPr>
        <p:sp>
          <p:nvSpPr>
            <p:cNvPr id="14" name="Arrow: Left-Right 8">
              <a:extLst>
                <a:ext uri="{FF2B5EF4-FFF2-40B4-BE49-F238E27FC236}">
                  <a16:creationId xmlns:a16="http://schemas.microsoft.com/office/drawing/2014/main" id="{A8DEAF55-D871-2B8A-E358-28EA7A026706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Plot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A2DDE23-EEEF-1CE0-311A-3FC38D085F21}"/>
                </a:ext>
              </a:extLst>
            </p:cNvPr>
            <p:cNvCxnSpPr>
              <a:stCxn id="14" idx="4"/>
              <a:endCxn id="14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convertedtitle__637369715831855678">
            <a:extLst>
              <a:ext uri="{FF2B5EF4-FFF2-40B4-BE49-F238E27FC236}">
                <a16:creationId xmlns:a16="http://schemas.microsoft.com/office/drawing/2014/main" id="{0D0C0749-CE5A-BADF-38D5-E1C0FAB0974B}"/>
              </a:ext>
            </a:extLst>
          </p:cNvPr>
          <p:cNvGrpSpPr/>
          <p:nvPr/>
        </p:nvGrpSpPr>
        <p:grpSpPr>
          <a:xfrm>
            <a:off x="8193504" y="1441449"/>
            <a:ext cx="3390379" cy="294093"/>
            <a:chOff x="2832361" y="2160328"/>
            <a:chExt cx="3534683" cy="184982"/>
          </a:xfrm>
        </p:grpSpPr>
        <p:sp>
          <p:nvSpPr>
            <p:cNvPr id="17" name="Arrow: Left-Right 11">
              <a:extLst>
                <a:ext uri="{FF2B5EF4-FFF2-40B4-BE49-F238E27FC236}">
                  <a16:creationId xmlns:a16="http://schemas.microsoft.com/office/drawing/2014/main" id="{01552E51-DD9B-CBCA-2A5B-8F8A2008A295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3F2F493-0E94-05EA-A997-05563CCB2D89}"/>
                </a:ext>
              </a:extLst>
            </p:cNvPr>
            <p:cNvCxnSpPr>
              <a:stCxn id="17" idx="4"/>
              <a:endCxn id="17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2">
            <a:extLst>
              <a:ext uri="{FF2B5EF4-FFF2-40B4-BE49-F238E27FC236}">
                <a16:creationId xmlns:a16="http://schemas.microsoft.com/office/drawing/2014/main" id="{2A8FAB38-38CC-FEBD-632D-B26E2C5093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3504" y="1850343"/>
            <a:ext cx="3390380" cy="38938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 number of sold peak at prices $80k-$180k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 house prices are for the most part evenly distributed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However, there’s a tail and some outliers on the right end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 tail provides an opportunity to find highly predictive variable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endParaRPr lang="en-US" altLang="en-US" sz="1600">
              <a:solidFill>
                <a:srgbClr val="2E2E38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AA39091-0E68-B64E-1ACC-768FE59EF9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373" y="1752881"/>
            <a:ext cx="7101305" cy="426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298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4475F3-926E-74B0-AD95-EABC3C087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veral variables show potential to predict house prices</a:t>
            </a:r>
            <a:endParaRPr lang="en-EC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16DE42-435C-0DBD-56A0-CFD4ABA384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2 | </a:t>
            </a:r>
            <a:r>
              <a:rPr lang="en-US" err="1"/>
              <a:t>eda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581FB0-8616-5497-E254-17FE668D75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16" y="2243064"/>
            <a:ext cx="4236848" cy="341177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07DA35-466B-A318-85B6-C8EB6CDD5F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2129" y="2243064"/>
            <a:ext cx="4066675" cy="31946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911EDE-C248-8EC1-9426-6A9167967E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9869" y="2243064"/>
            <a:ext cx="3577800" cy="3411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045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4475F3-926E-74B0-AD95-EABC3C087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ever, other variables could prove to not be valuable to predict prices</a:t>
            </a:r>
            <a:endParaRPr lang="en-EC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16DE42-435C-0DBD-56A0-CFD4ABA384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02 | </a:t>
            </a:r>
            <a:r>
              <a:rPr lang="en-US" err="1"/>
              <a:t>eda</a:t>
            </a:r>
            <a:endParaRPr lang="en-US"/>
          </a:p>
          <a:p>
            <a:endParaRPr lang="en-EC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1255893-CFE6-B2B8-7512-73695A2346C4}"/>
              </a:ext>
            </a:extLst>
          </p:cNvPr>
          <p:cNvGrpSpPr/>
          <p:nvPr/>
        </p:nvGrpSpPr>
        <p:grpSpPr>
          <a:xfrm>
            <a:off x="7734025" y="1882587"/>
            <a:ext cx="291426" cy="4579267"/>
            <a:chOff x="5944498" y="1809750"/>
            <a:chExt cx="291426" cy="426783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0D55D24-A4C2-784E-181F-7D7A1ADCB7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1" y="1809750"/>
              <a:ext cx="1" cy="4267838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5A3C9D3-6928-E06F-1325-C4622FFBF631}"/>
                </a:ext>
              </a:extLst>
            </p:cNvPr>
            <p:cNvGrpSpPr/>
            <p:nvPr/>
          </p:nvGrpSpPr>
          <p:grpSpPr>
            <a:xfrm>
              <a:off x="5944498" y="3797956"/>
              <a:ext cx="291426" cy="291426"/>
              <a:chOff x="5944498" y="3695730"/>
              <a:chExt cx="291426" cy="291426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0803985D-4AFB-2C60-A877-3869B88FBFE7}"/>
                  </a:ext>
                </a:extLst>
              </p:cNvPr>
              <p:cNvSpPr/>
              <p:nvPr/>
            </p:nvSpPr>
            <p:spPr>
              <a:xfrm>
                <a:off x="5944498" y="3695730"/>
                <a:ext cx="291426" cy="29142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/>
                <a:endParaRPr lang="en-US" sz="1099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Graphic 16">
                <a:extLst>
                  <a:ext uri="{FF2B5EF4-FFF2-40B4-BE49-F238E27FC236}">
                    <a16:creationId xmlns:a16="http://schemas.microsoft.com/office/drawing/2014/main" id="{0F095D66-FA1B-1E6C-138C-7BE6343187F4}"/>
                  </a:ext>
                </a:extLst>
              </p:cNvPr>
              <p:cNvSpPr/>
              <p:nvPr/>
            </p:nvSpPr>
            <p:spPr>
              <a:xfrm rot="5400000" flipV="1">
                <a:off x="6007124" y="3786216"/>
                <a:ext cx="209013" cy="110454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99"/>
              </a:p>
            </p:txBody>
          </p:sp>
        </p:grpSp>
      </p:grpSp>
      <p:grpSp>
        <p:nvGrpSpPr>
          <p:cNvPr id="14" name="convertedtitle__637369715831706015">
            <a:extLst>
              <a:ext uri="{FF2B5EF4-FFF2-40B4-BE49-F238E27FC236}">
                <a16:creationId xmlns:a16="http://schemas.microsoft.com/office/drawing/2014/main" id="{B6EC0A6F-9453-86FD-52E9-CD17308A2EE5}"/>
              </a:ext>
            </a:extLst>
          </p:cNvPr>
          <p:cNvGrpSpPr/>
          <p:nvPr/>
        </p:nvGrpSpPr>
        <p:grpSpPr>
          <a:xfrm>
            <a:off x="603068" y="1850527"/>
            <a:ext cx="7008753" cy="294093"/>
            <a:chOff x="2832361" y="2160328"/>
            <a:chExt cx="3534683" cy="184982"/>
          </a:xfrm>
        </p:grpSpPr>
        <p:sp>
          <p:nvSpPr>
            <p:cNvPr id="15" name="Arrow: Left-Right 8">
              <a:extLst>
                <a:ext uri="{FF2B5EF4-FFF2-40B4-BE49-F238E27FC236}">
                  <a16:creationId xmlns:a16="http://schemas.microsoft.com/office/drawing/2014/main" id="{3C7573D4-5FE8-AEA7-4CBC-0D5DA0BAA65E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Plot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8AB89CB-A8C5-E10C-D699-9E53D3225799}"/>
                </a:ext>
              </a:extLst>
            </p:cNvPr>
            <p:cNvCxnSpPr>
              <a:stCxn id="15" idx="4"/>
              <a:endCxn id="15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convertedtitle__637369715831855678">
            <a:extLst>
              <a:ext uri="{FF2B5EF4-FFF2-40B4-BE49-F238E27FC236}">
                <a16:creationId xmlns:a16="http://schemas.microsoft.com/office/drawing/2014/main" id="{A3FC6924-3E37-FED1-5E55-3E2E9AEDD10F}"/>
              </a:ext>
            </a:extLst>
          </p:cNvPr>
          <p:cNvGrpSpPr/>
          <p:nvPr/>
        </p:nvGrpSpPr>
        <p:grpSpPr>
          <a:xfrm>
            <a:off x="8193504" y="1850527"/>
            <a:ext cx="3390379" cy="294093"/>
            <a:chOff x="2832361" y="2160328"/>
            <a:chExt cx="3534683" cy="184982"/>
          </a:xfrm>
        </p:grpSpPr>
        <p:sp>
          <p:nvSpPr>
            <p:cNvPr id="18" name="Arrow: Left-Right 11">
              <a:extLst>
                <a:ext uri="{FF2B5EF4-FFF2-40B4-BE49-F238E27FC236}">
                  <a16:creationId xmlns:a16="http://schemas.microsoft.com/office/drawing/2014/main" id="{8D9A5E8A-BBC6-E19E-7E1E-456E8287C998}"/>
                </a:ext>
              </a:extLst>
            </p:cNvPr>
            <p:cNvSpPr/>
            <p:nvPr/>
          </p:nvSpPr>
          <p:spPr>
            <a:xfrm>
              <a:off x="2832361" y="2160328"/>
              <a:ext cx="3534683" cy="1849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b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32D4B"/>
                  </a:solidFill>
                </a:rPr>
                <a:t>Description</a:t>
              </a:r>
              <a:endParaRPr lang="en-US" sz="1400">
                <a:solidFill>
                  <a:srgbClr val="232D4B"/>
                </a:solidFill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5EC1809-FED2-EA27-F503-2AEC1D7D8719}"/>
                </a:ext>
              </a:extLst>
            </p:cNvPr>
            <p:cNvCxnSpPr>
              <a:stCxn id="18" idx="4"/>
              <a:endCxn id="18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2">
            <a:extLst>
              <a:ext uri="{FF2B5EF4-FFF2-40B4-BE49-F238E27FC236}">
                <a16:creationId xmlns:a16="http://schemas.microsoft.com/office/drawing/2014/main" id="{BB2C46AF-861A-F5E2-DB78-569B054DC4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3504" y="2259421"/>
            <a:ext cx="3390380" cy="26135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100">
                <a:solidFill>
                  <a:schemeClr val="bg1"/>
                </a:solidFill>
              </a:defRPr>
            </a:lvl1pPr>
            <a:lvl2pPr lvl="1">
              <a:defRPr sz="1100">
                <a:solidFill>
                  <a:schemeClr val="bg1"/>
                </a:solidFill>
              </a:defRPr>
            </a:lvl2pPr>
            <a:lvl3pPr lvl="2">
              <a:defRPr sz="1100">
                <a:solidFill>
                  <a:schemeClr val="bg1"/>
                </a:solidFill>
              </a:defRPr>
            </a:lvl3pPr>
          </a:lstStyle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There are categorical variables that could be useful to help develop predictive model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en-US" sz="1600">
                <a:solidFill>
                  <a:srgbClr val="2E2E38"/>
                </a:solidFill>
              </a:rPr>
              <a:t>However, there are cases where there are very few instances of some categories</a:t>
            </a:r>
          </a:p>
          <a:p>
            <a:pPr marL="144000" indent="-144000" fontAlgn="base">
              <a:lnSpc>
                <a:spcPct val="110000"/>
              </a:lnSpc>
              <a:spcBef>
                <a:spcPct val="15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 3" panose="05040102010807070707" pitchFamily="18" charset="2"/>
              <a:buChar char=""/>
            </a:pPr>
            <a:endParaRPr lang="en-US" altLang="en-US" sz="1600">
              <a:solidFill>
                <a:srgbClr val="2E2E38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301A0E6-1017-FC0B-B187-26547FAEB5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067" y="2259421"/>
            <a:ext cx="7008753" cy="1602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FE5F3BE-2E16-5F77-B417-3ED677992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067" y="4075189"/>
            <a:ext cx="7008753" cy="2256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524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014609d1-bc76-4003-b7c8-f1fa1fe028c8.1.Gfq95g=="/>
  <p:tag name="APLORISLIBHASH" val="1.16ftiMtuzWFt4NaGVIYCOSPb/YSHU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c57418b0-8792-43db-8e18-17b8eb38d626.1.JeLXYQ=="/>
  <p:tag name="APLORISLIBHASH" val="1.16XtkPFikoOLiqBG2P4ywG4usLWr8="/>
</p:tagLst>
</file>

<file path=ppt/theme/theme1.xml><?xml version="1.0" encoding="utf-8"?>
<a:theme xmlns:a="http://schemas.openxmlformats.org/drawingml/2006/main" name="Office Theme">
  <a:themeElements>
    <a:clrScheme name="University of Virginia Darden">
      <a:dk1>
        <a:sysClr val="windowText" lastClr="000000"/>
      </a:dk1>
      <a:lt1>
        <a:sysClr val="window" lastClr="FFFFFF"/>
      </a:lt1>
      <a:dk2>
        <a:srgbClr val="7030A0"/>
      </a:dk2>
      <a:lt2>
        <a:srgbClr val="E7E6E6"/>
      </a:lt2>
      <a:accent1>
        <a:srgbClr val="F47321"/>
      </a:accent1>
      <a:accent2>
        <a:srgbClr val="0C255B"/>
      </a:accent2>
      <a:accent3>
        <a:srgbClr val="007681"/>
      </a:accent3>
      <a:accent4>
        <a:srgbClr val="F6BB00"/>
      </a:accent4>
      <a:accent5>
        <a:srgbClr val="71A100"/>
      </a:accent5>
      <a:accent6>
        <a:srgbClr val="757070"/>
      </a:accent6>
      <a:hlink>
        <a:srgbClr val="0C255B"/>
      </a:hlink>
      <a:folHlink>
        <a:srgbClr val="0C255B"/>
      </a:folHlink>
    </a:clrScheme>
    <a:fontScheme name="Custom 24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732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26CC22C492214AB6969070A8239FF5" ma:contentTypeVersion="2" ma:contentTypeDescription="Create a new document." ma:contentTypeScope="" ma:versionID="ccd084c0e4cd4f91ab09428cf8cafd5a">
  <xsd:schema xmlns:xsd="http://www.w3.org/2001/XMLSchema" xmlns:xs="http://www.w3.org/2001/XMLSchema" xmlns:p="http://schemas.microsoft.com/office/2006/metadata/properties" xmlns:ns2="c93df3f3-9b1f-4180-af8c-fb2f359807a4" targetNamespace="http://schemas.microsoft.com/office/2006/metadata/properties" ma:root="true" ma:fieldsID="04c8cee46a5a97262494457557787103" ns2:_="">
    <xsd:import namespace="c93df3f3-9b1f-4180-af8c-fb2f359807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3df3f3-9b1f-4180-af8c-fb2f35980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467194-CC0F-48D2-A504-D5278861738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02F18F-83A7-4CA1-969C-5131AE30CBD5}">
  <ds:schemaRefs>
    <ds:schemaRef ds:uri="c93df3f3-9b1f-4180-af8c-fb2f35980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1FEF74C-2FCF-4138-A30A-E80515627252}">
  <ds:schemaRefs>
    <ds:schemaRef ds:uri="c93df3f3-9b1f-4180-af8c-fb2f35980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3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4" baseType="lpstr">
      <vt:lpstr>Office Theme</vt:lpstr>
      <vt:lpstr>Ames Housing Price Prediction</vt:lpstr>
      <vt:lpstr>Table of contents</vt:lpstr>
      <vt:lpstr>Zillow home buying program prior issues</vt:lpstr>
      <vt:lpstr>PowerPoint Presentation</vt:lpstr>
      <vt:lpstr>CRISP-DM </vt:lpstr>
      <vt:lpstr>PowerPoint Presentation</vt:lpstr>
      <vt:lpstr>House price distribution</vt:lpstr>
      <vt:lpstr>Several variables show potential to predict house prices</vt:lpstr>
      <vt:lpstr>However, other variables could prove to not be valuable to predict prices</vt:lpstr>
      <vt:lpstr>Area related variables correlations</vt:lpstr>
      <vt:lpstr>Year made range of values can mislead</vt:lpstr>
      <vt:lpstr>Feature correlation plot</vt:lpstr>
      <vt:lpstr>PowerPoint Presentation</vt:lpstr>
      <vt:lpstr>Replace nan with 0 to indicate missing </vt:lpstr>
      <vt:lpstr>Replace 0 and Nan by mean or “None”</vt:lpstr>
      <vt:lpstr>Consolidate variables into new columns</vt:lpstr>
      <vt:lpstr>Ordinal encoder for categorical values</vt:lpstr>
      <vt:lpstr>Scaler for continuous features</vt:lpstr>
      <vt:lpstr>Prepare x/y features in PCA</vt:lpstr>
      <vt:lpstr>Prepare x/y features in PCA</vt:lpstr>
      <vt:lpstr>Prepare x/y features W/O PCA</vt:lpstr>
      <vt:lpstr>PowerPoint Presentation</vt:lpstr>
      <vt:lpstr>Modeling approach</vt:lpstr>
      <vt:lpstr>Individual MODEL PERFORMANCES</vt:lpstr>
      <vt:lpstr>Feature Importance</vt:lpstr>
      <vt:lpstr>Ensemble MODEL PERFORMANCE</vt:lpstr>
      <vt:lpstr>PowerPoint Presentation</vt:lpstr>
      <vt:lpstr>Test PERFORMANCE</vt:lpstr>
      <vt:lpstr>PowerPoint Presentation</vt:lpstr>
      <vt:lpstr>Strengths and weakness of ensemble</vt:lpstr>
      <vt:lpstr>PowerPoint Presentation</vt:lpstr>
      <vt:lpstr>Conclusion &amp; Zillow resul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ah Devos</dc:creator>
  <cp:revision>1</cp:revision>
  <dcterms:created xsi:type="dcterms:W3CDTF">2017-08-11T12:48:20Z</dcterms:created>
  <dcterms:modified xsi:type="dcterms:W3CDTF">2022-12-19T14:1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26CC22C492214AB6969070A8239FF5</vt:lpwstr>
  </property>
</Properties>
</file>